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4F_946689CF.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3"/>
  </p:notesMasterIdLst>
  <p:handoutMasterIdLst>
    <p:handoutMasterId r:id="rId34"/>
  </p:handoutMasterIdLst>
  <p:sldIdLst>
    <p:sldId id="412" r:id="rId5"/>
    <p:sldId id="276" r:id="rId6"/>
    <p:sldId id="366" r:id="rId7"/>
    <p:sldId id="266" r:id="rId8"/>
    <p:sldId id="436" r:id="rId9"/>
    <p:sldId id="437" r:id="rId10"/>
    <p:sldId id="438" r:id="rId11"/>
    <p:sldId id="335" r:id="rId12"/>
    <p:sldId id="439" r:id="rId13"/>
    <p:sldId id="440" r:id="rId14"/>
    <p:sldId id="441" r:id="rId15"/>
    <p:sldId id="442" r:id="rId16"/>
    <p:sldId id="443" r:id="rId17"/>
    <p:sldId id="445" r:id="rId18"/>
    <p:sldId id="444" r:id="rId19"/>
    <p:sldId id="446" r:id="rId20"/>
    <p:sldId id="447" r:id="rId21"/>
    <p:sldId id="448" r:id="rId22"/>
    <p:sldId id="313" r:id="rId23"/>
    <p:sldId id="451" r:id="rId24"/>
    <p:sldId id="265" r:id="rId25"/>
    <p:sldId id="449" r:id="rId26"/>
    <p:sldId id="452" r:id="rId27"/>
    <p:sldId id="453" r:id="rId28"/>
    <p:sldId id="454" r:id="rId29"/>
    <p:sldId id="450" r:id="rId30"/>
    <p:sldId id="455" r:id="rId31"/>
    <p:sldId id="344" r:id="rId32"/>
  </p:sldIdLst>
  <p:sldSz cx="12192000" cy="6858000"/>
  <p:notesSz cx="6797675" cy="9926638"/>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40"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DEC558-C24D-4D5C-7510-155AF4A99F0D}" name="David Seale" initials="DS" userId="S::david.seale@eqs.com::a1476fac-d13a-475d-b11d-9dff0c674793" providerId="AD"/>
  <p188:author id="{F9B65EEA-2242-6108-A8F9-17F37A6D92C9}" name="David Seale" initials="DS" userId="S::David.Seale@eqs.com::a1476fac-d13a-475d-b11d-9dff0c674793" providerId="AD"/>
  <p188:author id="{5EB0E7EF-BCAA-9E3A-300E-E5D712634654}" name="Phil Mauracher" initials="PM" userId="S::phil.mauracher@eqs.com::44bd136f-269c-43de-b90b-c39a626339c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2425771-C2CE-4FDA-B795-ADF4B8EE7B89}" v="29" dt="2025-06-04T02:44:45.719"/>
    <p1510:client id="{D0A7604D-CFB6-B196-1161-4B78E7C09831}" v="4" dt="2025-06-04T01:41:24.279"/>
    <p1510:client id="{EECB2A6C-9211-A0DE-5FB5-17DD16F31FE7}" v="739" dt="2025-06-03T04:40:44.990"/>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12"/>
    <p:restoredTop sz="96170"/>
  </p:normalViewPr>
  <p:slideViewPr>
    <p:cSldViewPr showGuides="1">
      <p:cViewPr varScale="1">
        <p:scale>
          <a:sx n="87" d="100"/>
          <a:sy n="87" d="100"/>
        </p:scale>
        <p:origin x="200" y="856"/>
      </p:cViewPr>
      <p:guideLst>
        <p:guide pos="3613"/>
        <p:guide orient="horz" pos="1440"/>
        <p:guide pos="697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370"/>
    </p:cViewPr>
  </p:sorterViewPr>
  <p:notesViewPr>
    <p:cSldViewPr showGuides="1">
      <p:cViewPr>
        <p:scale>
          <a:sx n="100" d="100"/>
          <a:sy n="100" d="100"/>
        </p:scale>
        <p:origin x="2634" y="-816"/>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Seale" userId="S::david.seale@eqs.com::a1476fac-d13a-475d-b11d-9dff0c674793" providerId="AD" clId="Web-{D035A874-4E97-918F-3958-C893A373ACF0}"/>
    <pc:docChg chg="mod">
      <pc:chgData name="David Seale" userId="S::david.seale@eqs.com::a1476fac-d13a-475d-b11d-9dff0c674793" providerId="AD" clId="Web-{D035A874-4E97-918F-3958-C893A373ACF0}" dt="2025-05-28T13:32:47.952" v="0"/>
      <pc:docMkLst>
        <pc:docMk/>
      </pc:docMkLst>
    </pc:docChg>
  </pc:docChgLst>
  <pc:docChgLst>
    <pc:chgData name="Rachael Chagnon" userId="S::rachael.chagnon@eqs.com::871bcc3d-b11c-46b6-b535-e388c92a0813" providerId="AD" clId="Web-{D0A7604D-CFB6-B196-1161-4B78E7C09831}"/>
    <pc:docChg chg="modSld">
      <pc:chgData name="Rachael Chagnon" userId="S::rachael.chagnon@eqs.com::871bcc3d-b11c-46b6-b535-e388c92a0813" providerId="AD" clId="Web-{D0A7604D-CFB6-B196-1161-4B78E7C09831}" dt="2025-06-04T01:41:24.279" v="3" actId="1076"/>
      <pc:docMkLst>
        <pc:docMk/>
      </pc:docMkLst>
      <pc:sldChg chg="modSp">
        <pc:chgData name="Rachael Chagnon" userId="S::rachael.chagnon@eqs.com::871bcc3d-b11c-46b6-b535-e388c92a0813" providerId="AD" clId="Web-{D0A7604D-CFB6-B196-1161-4B78E7C09831}" dt="2025-06-04T01:40:33.695" v="0" actId="1076"/>
        <pc:sldMkLst>
          <pc:docMk/>
          <pc:sldMk cId="1795470605" sldId="441"/>
        </pc:sldMkLst>
        <pc:picChg chg="mod">
          <ac:chgData name="Rachael Chagnon" userId="S::rachael.chagnon@eqs.com::871bcc3d-b11c-46b6-b535-e388c92a0813" providerId="AD" clId="Web-{D0A7604D-CFB6-B196-1161-4B78E7C09831}" dt="2025-06-04T01:40:33.695" v="0" actId="1076"/>
          <ac:picMkLst>
            <pc:docMk/>
            <pc:sldMk cId="1795470605" sldId="441"/>
            <ac:picMk id="4" creationId="{A466BF67-D333-0E55-5686-204E72F13D44}"/>
          </ac:picMkLst>
        </pc:picChg>
      </pc:sldChg>
      <pc:sldChg chg="modSp">
        <pc:chgData name="Rachael Chagnon" userId="S::rachael.chagnon@eqs.com::871bcc3d-b11c-46b6-b535-e388c92a0813" providerId="AD" clId="Web-{D0A7604D-CFB6-B196-1161-4B78E7C09831}" dt="2025-06-04T01:41:04.434" v="1" actId="1076"/>
        <pc:sldMkLst>
          <pc:docMk/>
          <pc:sldMk cId="440620725" sldId="453"/>
        </pc:sldMkLst>
        <pc:picChg chg="mod">
          <ac:chgData name="Rachael Chagnon" userId="S::rachael.chagnon@eqs.com::871bcc3d-b11c-46b6-b535-e388c92a0813" providerId="AD" clId="Web-{D0A7604D-CFB6-B196-1161-4B78E7C09831}" dt="2025-06-04T01:41:04.434" v="1" actId="1076"/>
          <ac:picMkLst>
            <pc:docMk/>
            <pc:sldMk cId="440620725" sldId="453"/>
            <ac:picMk id="4" creationId="{8C5AE097-3E72-7DD8-D321-867B444F56CE}"/>
          </ac:picMkLst>
        </pc:picChg>
      </pc:sldChg>
      <pc:sldChg chg="modSp">
        <pc:chgData name="Rachael Chagnon" userId="S::rachael.chagnon@eqs.com::871bcc3d-b11c-46b6-b535-e388c92a0813" providerId="AD" clId="Web-{D0A7604D-CFB6-B196-1161-4B78E7C09831}" dt="2025-06-04T01:41:24.279" v="3" actId="1076"/>
        <pc:sldMkLst>
          <pc:docMk/>
          <pc:sldMk cId="3068486551" sldId="454"/>
        </pc:sldMkLst>
        <pc:picChg chg="mod">
          <ac:chgData name="Rachael Chagnon" userId="S::rachael.chagnon@eqs.com::871bcc3d-b11c-46b6-b535-e388c92a0813" providerId="AD" clId="Web-{D0A7604D-CFB6-B196-1161-4B78E7C09831}" dt="2025-06-04T01:41:24.279" v="3" actId="1076"/>
          <ac:picMkLst>
            <pc:docMk/>
            <pc:sldMk cId="3068486551" sldId="454"/>
            <ac:picMk id="5" creationId="{8F63CD36-DE8C-2169-E8F8-75FC0C91A0D4}"/>
          </ac:picMkLst>
        </pc:picChg>
        <pc:picChg chg="mod">
          <ac:chgData name="Rachael Chagnon" userId="S::rachael.chagnon@eqs.com::871bcc3d-b11c-46b6-b535-e388c92a0813" providerId="AD" clId="Web-{D0A7604D-CFB6-B196-1161-4B78E7C09831}" dt="2025-06-04T01:41:21.747" v="2" actId="1076"/>
          <ac:picMkLst>
            <pc:docMk/>
            <pc:sldMk cId="3068486551" sldId="454"/>
            <ac:picMk id="9" creationId="{E958E30F-F652-267F-3DC2-E2E3B529FF46}"/>
          </ac:picMkLst>
        </pc:picChg>
      </pc:sldChg>
    </pc:docChg>
  </pc:docChgLst>
  <pc:docChgLst>
    <pc:chgData name="David Seale" userId="a1476fac-d13a-475d-b11d-9dff0c674793" providerId="ADAL" clId="{25752D79-23C6-4356-B215-18B30C85D4A9}"/>
    <pc:docChg chg="custSel modSld">
      <pc:chgData name="David Seale" userId="a1476fac-d13a-475d-b11d-9dff0c674793" providerId="ADAL" clId="{25752D79-23C6-4356-B215-18B30C85D4A9}" dt="2025-05-27T08:35:16.235" v="3" actId="313"/>
      <pc:docMkLst>
        <pc:docMk/>
      </pc:docMkLst>
      <pc:sldChg chg="modSp mod">
        <pc:chgData name="David Seale" userId="a1476fac-d13a-475d-b11d-9dff0c674793" providerId="ADAL" clId="{25752D79-23C6-4356-B215-18B30C85D4A9}" dt="2025-05-27T08:26:20.251" v="2" actId="790"/>
        <pc:sldMkLst>
          <pc:docMk/>
          <pc:sldMk cId="1832310471" sldId="265"/>
        </pc:sldMkLst>
        <pc:spChg chg="mod">
          <ac:chgData name="David Seale" userId="a1476fac-d13a-475d-b11d-9dff0c674793" providerId="ADAL" clId="{25752D79-23C6-4356-B215-18B30C85D4A9}" dt="2025-05-27T08:26:20.251" v="2" actId="790"/>
          <ac:spMkLst>
            <pc:docMk/>
            <pc:sldMk cId="1832310471" sldId="265"/>
            <ac:spMk id="2" creationId="{402737E0-4A72-33CD-94DE-BEE02A5E1AF2}"/>
          </ac:spMkLst>
        </pc:spChg>
        <pc:spChg chg="mod">
          <ac:chgData name="David Seale" userId="a1476fac-d13a-475d-b11d-9dff0c674793" providerId="ADAL" clId="{25752D79-23C6-4356-B215-18B30C85D4A9}" dt="2025-05-27T08:26:20.251" v="2" actId="790"/>
          <ac:spMkLst>
            <pc:docMk/>
            <pc:sldMk cId="1832310471" sldId="265"/>
            <ac:spMk id="3" creationId="{00000000-0000-0000-0000-000000000000}"/>
          </ac:spMkLst>
        </pc:spChg>
        <pc:spChg chg="mod">
          <ac:chgData name="David Seale" userId="a1476fac-d13a-475d-b11d-9dff0c674793" providerId="ADAL" clId="{25752D79-23C6-4356-B215-18B30C85D4A9}" dt="2025-05-27T08:26:20.251" v="2" actId="790"/>
          <ac:spMkLst>
            <pc:docMk/>
            <pc:sldMk cId="1832310471" sldId="265"/>
            <ac:spMk id="6" creationId="{CCE9110C-434F-E871-EF6D-2A4BB14204D0}"/>
          </ac:spMkLst>
        </pc:spChg>
        <pc:spChg chg="mod">
          <ac:chgData name="David Seale" userId="a1476fac-d13a-475d-b11d-9dff0c674793" providerId="ADAL" clId="{25752D79-23C6-4356-B215-18B30C85D4A9}" dt="2025-05-27T08:26:20.251" v="2" actId="790"/>
          <ac:spMkLst>
            <pc:docMk/>
            <pc:sldMk cId="1832310471" sldId="265"/>
            <ac:spMk id="15" creationId="{00000000-0000-0000-0000-000000000000}"/>
          </ac:spMkLst>
        </pc:spChg>
      </pc:sldChg>
      <pc:sldChg chg="modSp mod">
        <pc:chgData name="David Seale" userId="a1476fac-d13a-475d-b11d-9dff0c674793" providerId="ADAL" clId="{25752D79-23C6-4356-B215-18B30C85D4A9}" dt="2025-05-27T08:35:16.235" v="3" actId="313"/>
        <pc:sldMkLst>
          <pc:docMk/>
          <pc:sldMk cId="3763710424" sldId="266"/>
        </pc:sldMkLst>
        <pc:spChg chg="mod">
          <ac:chgData name="David Seale" userId="a1476fac-d13a-475d-b11d-9dff0c674793" providerId="ADAL" clId="{25752D79-23C6-4356-B215-18B30C85D4A9}" dt="2025-05-27T08:26:20.251" v="2" actId="790"/>
          <ac:spMkLst>
            <pc:docMk/>
            <pc:sldMk cId="3763710424" sldId="266"/>
            <ac:spMk id="2" creationId="{00000000-0000-0000-0000-000000000000}"/>
          </ac:spMkLst>
        </pc:spChg>
        <pc:spChg chg="mod">
          <ac:chgData name="David Seale" userId="a1476fac-d13a-475d-b11d-9dff0c674793" providerId="ADAL" clId="{25752D79-23C6-4356-B215-18B30C85D4A9}" dt="2025-05-27T08:35:16.235" v="3" actId="313"/>
          <ac:spMkLst>
            <pc:docMk/>
            <pc:sldMk cId="3763710424" sldId="266"/>
            <ac:spMk id="3" creationId="{00000000-0000-0000-0000-000000000000}"/>
          </ac:spMkLst>
        </pc:spChg>
        <pc:spChg chg="mod">
          <ac:chgData name="David Seale" userId="a1476fac-d13a-475d-b11d-9dff0c674793" providerId="ADAL" clId="{25752D79-23C6-4356-B215-18B30C85D4A9}" dt="2025-05-27T08:26:20.251" v="2" actId="790"/>
          <ac:spMkLst>
            <pc:docMk/>
            <pc:sldMk cId="3763710424" sldId="266"/>
            <ac:spMk id="7" creationId="{958EB4E7-E9B9-B09B-8AF2-5DEEF465E923}"/>
          </ac:spMkLst>
        </pc:spChg>
      </pc:sldChg>
      <pc:sldChg chg="modSp mod">
        <pc:chgData name="David Seale" userId="a1476fac-d13a-475d-b11d-9dff0c674793" providerId="ADAL" clId="{25752D79-23C6-4356-B215-18B30C85D4A9}" dt="2025-05-27T08:26:20.251" v="2" actId="790"/>
        <pc:sldMkLst>
          <pc:docMk/>
          <pc:sldMk cId="2006081962" sldId="276"/>
        </pc:sldMkLst>
        <pc:spChg chg="mod">
          <ac:chgData name="David Seale" userId="a1476fac-d13a-475d-b11d-9dff0c674793" providerId="ADAL" clId="{25752D79-23C6-4356-B215-18B30C85D4A9}" dt="2025-05-27T08:26:20.251" v="2" actId="790"/>
          <ac:spMkLst>
            <pc:docMk/>
            <pc:sldMk cId="2006081962" sldId="276"/>
            <ac:spMk id="2" creationId="{00000000-0000-0000-0000-000000000000}"/>
          </ac:spMkLst>
        </pc:spChg>
        <pc:spChg chg="mod">
          <ac:chgData name="David Seale" userId="a1476fac-d13a-475d-b11d-9dff0c674793" providerId="ADAL" clId="{25752D79-23C6-4356-B215-18B30C85D4A9}" dt="2025-05-27T08:26:20.251" v="2" actId="790"/>
          <ac:spMkLst>
            <pc:docMk/>
            <pc:sldMk cId="2006081962" sldId="276"/>
            <ac:spMk id="5" creationId="{00000000-0000-0000-0000-000000000000}"/>
          </ac:spMkLst>
        </pc:spChg>
        <pc:spChg chg="mod">
          <ac:chgData name="David Seale" userId="a1476fac-d13a-475d-b11d-9dff0c674793" providerId="ADAL" clId="{25752D79-23C6-4356-B215-18B30C85D4A9}" dt="2025-05-27T08:26:20.251" v="2" actId="790"/>
          <ac:spMkLst>
            <pc:docMk/>
            <pc:sldMk cId="2006081962" sldId="276"/>
            <ac:spMk id="7" creationId="{965D8BCE-275E-0371-584F-F92D1C3DEB30}"/>
          </ac:spMkLst>
        </pc:spChg>
        <pc:spChg chg="mod">
          <ac:chgData name="David Seale" userId="a1476fac-d13a-475d-b11d-9dff0c674793" providerId="ADAL" clId="{25752D79-23C6-4356-B215-18B30C85D4A9}" dt="2025-05-27T08:26:20.251" v="2" actId="790"/>
          <ac:spMkLst>
            <pc:docMk/>
            <pc:sldMk cId="2006081962" sldId="276"/>
            <ac:spMk id="10" creationId="{00000000-0000-0000-0000-000000000000}"/>
          </ac:spMkLst>
        </pc:spChg>
      </pc:sldChg>
      <pc:sldChg chg="modSp mod">
        <pc:chgData name="David Seale" userId="a1476fac-d13a-475d-b11d-9dff0c674793" providerId="ADAL" clId="{25752D79-23C6-4356-B215-18B30C85D4A9}" dt="2025-05-27T08:26:20.251" v="2" actId="790"/>
        <pc:sldMkLst>
          <pc:docMk/>
          <pc:sldMk cId="1778359718" sldId="278"/>
        </pc:sldMkLst>
        <pc:spChg chg="mod">
          <ac:chgData name="David Seale" userId="a1476fac-d13a-475d-b11d-9dff0c674793" providerId="ADAL" clId="{25752D79-23C6-4356-B215-18B30C85D4A9}" dt="2025-05-27T08:26:20.251" v="2" actId="790"/>
          <ac:spMkLst>
            <pc:docMk/>
            <pc:sldMk cId="1778359718" sldId="278"/>
            <ac:spMk id="2" creationId="{00000000-0000-0000-0000-000000000000}"/>
          </ac:spMkLst>
        </pc:spChg>
        <pc:spChg chg="mod">
          <ac:chgData name="David Seale" userId="a1476fac-d13a-475d-b11d-9dff0c674793" providerId="ADAL" clId="{25752D79-23C6-4356-B215-18B30C85D4A9}" dt="2025-05-27T08:26:20.251" v="2" actId="790"/>
          <ac:spMkLst>
            <pc:docMk/>
            <pc:sldMk cId="1778359718" sldId="278"/>
            <ac:spMk id="6" creationId="{654CBBAD-B3AD-6B80-CCC4-F9DA86172E7D}"/>
          </ac:spMkLst>
        </pc:spChg>
        <pc:spChg chg="mod">
          <ac:chgData name="David Seale" userId="a1476fac-d13a-475d-b11d-9dff0c674793" providerId="ADAL" clId="{25752D79-23C6-4356-B215-18B30C85D4A9}" dt="2025-05-27T08:26:20.251" v="2" actId="790"/>
          <ac:spMkLst>
            <pc:docMk/>
            <pc:sldMk cId="1778359718" sldId="278"/>
            <ac:spMk id="11" creationId="{00000000-0000-0000-0000-000000000000}"/>
          </ac:spMkLst>
        </pc:spChg>
        <pc:spChg chg="mod">
          <ac:chgData name="David Seale" userId="a1476fac-d13a-475d-b11d-9dff0c674793" providerId="ADAL" clId="{25752D79-23C6-4356-B215-18B30C85D4A9}" dt="2025-05-27T08:26:20.251" v="2" actId="790"/>
          <ac:spMkLst>
            <pc:docMk/>
            <pc:sldMk cId="1778359718" sldId="278"/>
            <ac:spMk id="12" creationId="{00000000-0000-0000-0000-000000000000}"/>
          </ac:spMkLst>
        </pc:spChg>
      </pc:sldChg>
      <pc:sldChg chg="modSp mod">
        <pc:chgData name="David Seale" userId="a1476fac-d13a-475d-b11d-9dff0c674793" providerId="ADAL" clId="{25752D79-23C6-4356-B215-18B30C85D4A9}" dt="2025-05-27T08:26:20.251" v="2" actId="790"/>
        <pc:sldMkLst>
          <pc:docMk/>
          <pc:sldMk cId="1317054284" sldId="313"/>
        </pc:sldMkLst>
        <pc:spChg chg="mod">
          <ac:chgData name="David Seale" userId="a1476fac-d13a-475d-b11d-9dff0c674793" providerId="ADAL" clId="{25752D79-23C6-4356-B215-18B30C85D4A9}" dt="2025-05-27T08:26:20.251" v="2" actId="790"/>
          <ac:spMkLst>
            <pc:docMk/>
            <pc:sldMk cId="1317054284" sldId="313"/>
            <ac:spMk id="2" creationId="{00000000-0000-0000-0000-000000000000}"/>
          </ac:spMkLst>
        </pc:spChg>
        <pc:spChg chg="mod">
          <ac:chgData name="David Seale" userId="a1476fac-d13a-475d-b11d-9dff0c674793" providerId="ADAL" clId="{25752D79-23C6-4356-B215-18B30C85D4A9}" dt="2025-05-27T08:26:20.251" v="2" actId="790"/>
          <ac:spMkLst>
            <pc:docMk/>
            <pc:sldMk cId="1317054284" sldId="313"/>
            <ac:spMk id="4" creationId="{5D43AB3B-3F79-1F84-FE50-45B17F1B69EF}"/>
          </ac:spMkLst>
        </pc:spChg>
        <pc:spChg chg="mod">
          <ac:chgData name="David Seale" userId="a1476fac-d13a-475d-b11d-9dff0c674793" providerId="ADAL" clId="{25752D79-23C6-4356-B215-18B30C85D4A9}" dt="2025-05-27T08:26:20.251" v="2" actId="790"/>
          <ac:spMkLst>
            <pc:docMk/>
            <pc:sldMk cId="1317054284" sldId="313"/>
            <ac:spMk id="6" creationId="{00000000-0000-0000-0000-000000000000}"/>
          </ac:spMkLst>
        </pc:spChg>
      </pc:sldChg>
      <pc:sldChg chg="modSp mod">
        <pc:chgData name="David Seale" userId="a1476fac-d13a-475d-b11d-9dff0c674793" providerId="ADAL" clId="{25752D79-23C6-4356-B215-18B30C85D4A9}" dt="2025-05-27T08:26:20.251" v="2" actId="790"/>
        <pc:sldMkLst>
          <pc:docMk/>
          <pc:sldMk cId="3585255188" sldId="328"/>
        </pc:sldMkLst>
        <pc:spChg chg="mod">
          <ac:chgData name="David Seale" userId="a1476fac-d13a-475d-b11d-9dff0c674793" providerId="ADAL" clId="{25752D79-23C6-4356-B215-18B30C85D4A9}" dt="2025-05-27T08:26:20.251" v="2" actId="790"/>
          <ac:spMkLst>
            <pc:docMk/>
            <pc:sldMk cId="3585255188" sldId="328"/>
            <ac:spMk id="2" creationId="{00000000-0000-0000-0000-000000000000}"/>
          </ac:spMkLst>
        </pc:spChg>
        <pc:spChg chg="mod">
          <ac:chgData name="David Seale" userId="a1476fac-d13a-475d-b11d-9dff0c674793" providerId="ADAL" clId="{25752D79-23C6-4356-B215-18B30C85D4A9}" dt="2025-05-27T08:26:20.251" v="2" actId="790"/>
          <ac:spMkLst>
            <pc:docMk/>
            <pc:sldMk cId="3585255188" sldId="328"/>
            <ac:spMk id="6" creationId="{C7451830-44D7-4B54-9620-A7B5FEE25A45}"/>
          </ac:spMkLst>
        </pc:spChg>
        <pc:spChg chg="mod">
          <ac:chgData name="David Seale" userId="a1476fac-d13a-475d-b11d-9dff0c674793" providerId="ADAL" clId="{25752D79-23C6-4356-B215-18B30C85D4A9}" dt="2025-05-27T08:26:20.251" v="2" actId="790"/>
          <ac:spMkLst>
            <pc:docMk/>
            <pc:sldMk cId="3585255188" sldId="328"/>
            <ac:spMk id="11" creationId="{00000000-0000-0000-0000-000000000000}"/>
          </ac:spMkLst>
        </pc:spChg>
        <pc:spChg chg="mod">
          <ac:chgData name="David Seale" userId="a1476fac-d13a-475d-b11d-9dff0c674793" providerId="ADAL" clId="{25752D79-23C6-4356-B215-18B30C85D4A9}" dt="2025-05-27T08:26:20.251" v="2" actId="790"/>
          <ac:spMkLst>
            <pc:docMk/>
            <pc:sldMk cId="3585255188" sldId="328"/>
            <ac:spMk id="12" creationId="{00000000-0000-0000-0000-000000000000}"/>
          </ac:spMkLst>
        </pc:spChg>
      </pc:sldChg>
      <pc:sldChg chg="modSp mod">
        <pc:chgData name="David Seale" userId="a1476fac-d13a-475d-b11d-9dff0c674793" providerId="ADAL" clId="{25752D79-23C6-4356-B215-18B30C85D4A9}" dt="2025-05-27T08:26:20.251" v="2" actId="790"/>
        <pc:sldMkLst>
          <pc:docMk/>
          <pc:sldMk cId="2489747919" sldId="335"/>
        </pc:sldMkLst>
        <pc:spChg chg="mod">
          <ac:chgData name="David Seale" userId="a1476fac-d13a-475d-b11d-9dff0c674793" providerId="ADAL" clId="{25752D79-23C6-4356-B215-18B30C85D4A9}" dt="2025-05-27T08:26:20.251" v="2" actId="790"/>
          <ac:spMkLst>
            <pc:docMk/>
            <pc:sldMk cId="2489747919" sldId="335"/>
            <ac:spMk id="2" creationId="{00000000-0000-0000-0000-000000000000}"/>
          </ac:spMkLst>
        </pc:spChg>
        <pc:spChg chg="mod">
          <ac:chgData name="David Seale" userId="a1476fac-d13a-475d-b11d-9dff0c674793" providerId="ADAL" clId="{25752D79-23C6-4356-B215-18B30C85D4A9}" dt="2025-05-27T08:26:20.251" v="2" actId="790"/>
          <ac:spMkLst>
            <pc:docMk/>
            <pc:sldMk cId="2489747919" sldId="335"/>
            <ac:spMk id="6" creationId="{73D56BCE-1616-33A7-C4DE-D883B306A145}"/>
          </ac:spMkLst>
        </pc:spChg>
        <pc:spChg chg="mod">
          <ac:chgData name="David Seale" userId="a1476fac-d13a-475d-b11d-9dff0c674793" providerId="ADAL" clId="{25752D79-23C6-4356-B215-18B30C85D4A9}" dt="2025-05-27T08:26:20.251" v="2" actId="790"/>
          <ac:spMkLst>
            <pc:docMk/>
            <pc:sldMk cId="2489747919" sldId="335"/>
            <ac:spMk id="7" creationId="{E743048D-4CE5-7C8E-1998-E35C5005A57B}"/>
          </ac:spMkLst>
        </pc:spChg>
        <pc:spChg chg="mod">
          <ac:chgData name="David Seale" userId="a1476fac-d13a-475d-b11d-9dff0c674793" providerId="ADAL" clId="{25752D79-23C6-4356-B215-18B30C85D4A9}" dt="2025-05-27T08:26:20.251" v="2" actId="790"/>
          <ac:spMkLst>
            <pc:docMk/>
            <pc:sldMk cId="2489747919" sldId="335"/>
            <ac:spMk id="8" creationId="{200E1F25-F014-0DEF-808D-07BD930C105E}"/>
          </ac:spMkLst>
        </pc:spChg>
        <pc:spChg chg="mod">
          <ac:chgData name="David Seale" userId="a1476fac-d13a-475d-b11d-9dff0c674793" providerId="ADAL" clId="{25752D79-23C6-4356-B215-18B30C85D4A9}" dt="2025-05-27T08:26:20.251" v="2" actId="790"/>
          <ac:spMkLst>
            <pc:docMk/>
            <pc:sldMk cId="2489747919" sldId="335"/>
            <ac:spMk id="9" creationId="{EE0AC3CA-068B-3654-BBDF-85F192E6FE1B}"/>
          </ac:spMkLst>
        </pc:spChg>
        <pc:spChg chg="mod">
          <ac:chgData name="David Seale" userId="a1476fac-d13a-475d-b11d-9dff0c674793" providerId="ADAL" clId="{25752D79-23C6-4356-B215-18B30C85D4A9}" dt="2025-05-27T08:26:20.251" v="2" actId="790"/>
          <ac:spMkLst>
            <pc:docMk/>
            <pc:sldMk cId="2489747919" sldId="335"/>
            <ac:spMk id="10" creationId="{ED9EC9CB-1B20-4978-851F-1BAB2D54082B}"/>
          </ac:spMkLst>
        </pc:spChg>
        <pc:spChg chg="mod">
          <ac:chgData name="David Seale" userId="a1476fac-d13a-475d-b11d-9dff0c674793" providerId="ADAL" clId="{25752D79-23C6-4356-B215-18B30C85D4A9}" dt="2025-05-27T08:26:20.251" v="2" actId="790"/>
          <ac:spMkLst>
            <pc:docMk/>
            <pc:sldMk cId="2489747919" sldId="335"/>
            <ac:spMk id="11" creationId="{45564146-775F-7D6F-07FD-F9EE0A95F037}"/>
          </ac:spMkLst>
        </pc:spChg>
        <pc:spChg chg="mod">
          <ac:chgData name="David Seale" userId="a1476fac-d13a-475d-b11d-9dff0c674793" providerId="ADAL" clId="{25752D79-23C6-4356-B215-18B30C85D4A9}" dt="2025-05-27T08:26:20.251" v="2" actId="790"/>
          <ac:spMkLst>
            <pc:docMk/>
            <pc:sldMk cId="2489747919" sldId="335"/>
            <ac:spMk id="12" creationId="{16CCFEE4-AAC6-736F-6E4E-EBD3D960BDA4}"/>
          </ac:spMkLst>
        </pc:spChg>
        <pc:spChg chg="mod">
          <ac:chgData name="David Seale" userId="a1476fac-d13a-475d-b11d-9dff0c674793" providerId="ADAL" clId="{25752D79-23C6-4356-B215-18B30C85D4A9}" dt="2025-05-27T08:26:20.251" v="2" actId="790"/>
          <ac:spMkLst>
            <pc:docMk/>
            <pc:sldMk cId="2489747919" sldId="335"/>
            <ac:spMk id="13" creationId="{38092D30-F193-6262-7549-C4C31CF061DC}"/>
          </ac:spMkLst>
        </pc:spChg>
      </pc:sldChg>
      <pc:sldChg chg="modSp mod">
        <pc:chgData name="David Seale" userId="a1476fac-d13a-475d-b11d-9dff0c674793" providerId="ADAL" clId="{25752D79-23C6-4356-B215-18B30C85D4A9}" dt="2025-05-27T08:26:20.251" v="2" actId="790"/>
        <pc:sldMkLst>
          <pc:docMk/>
          <pc:sldMk cId="137892824" sldId="344"/>
        </pc:sldMkLst>
        <pc:spChg chg="mod">
          <ac:chgData name="David Seale" userId="a1476fac-d13a-475d-b11d-9dff0c674793" providerId="ADAL" clId="{25752D79-23C6-4356-B215-18B30C85D4A9}" dt="2025-05-27T08:26:20.251" v="2" actId="790"/>
          <ac:spMkLst>
            <pc:docMk/>
            <pc:sldMk cId="137892824" sldId="344"/>
            <ac:spMk id="5" creationId="{BCB55C21-6630-CB14-AE2E-CAAB3BC55268}"/>
          </ac:spMkLst>
        </pc:spChg>
      </pc:sldChg>
      <pc:sldChg chg="modSp mod">
        <pc:chgData name="David Seale" userId="a1476fac-d13a-475d-b11d-9dff0c674793" providerId="ADAL" clId="{25752D79-23C6-4356-B215-18B30C85D4A9}" dt="2025-05-27T08:26:20.251" v="2" actId="790"/>
        <pc:sldMkLst>
          <pc:docMk/>
          <pc:sldMk cId="368439124" sldId="366"/>
        </pc:sldMkLst>
        <pc:spChg chg="mod">
          <ac:chgData name="David Seale" userId="a1476fac-d13a-475d-b11d-9dff0c674793" providerId="ADAL" clId="{25752D79-23C6-4356-B215-18B30C85D4A9}" dt="2025-05-27T08:26:20.251" v="2" actId="790"/>
          <ac:spMkLst>
            <pc:docMk/>
            <pc:sldMk cId="368439124" sldId="366"/>
            <ac:spMk id="3" creationId="{00000000-0000-0000-0000-000000000000}"/>
          </ac:spMkLst>
        </pc:spChg>
        <pc:spChg chg="mod">
          <ac:chgData name="David Seale" userId="a1476fac-d13a-475d-b11d-9dff0c674793" providerId="ADAL" clId="{25752D79-23C6-4356-B215-18B30C85D4A9}" dt="2025-05-27T08:26:20.251" v="2" actId="790"/>
          <ac:spMkLst>
            <pc:docMk/>
            <pc:sldMk cId="368439124" sldId="366"/>
            <ac:spMk id="8" creationId="{00000000-0000-0000-0000-000000000000}"/>
          </ac:spMkLst>
        </pc:spChg>
        <pc:spChg chg="mod">
          <ac:chgData name="David Seale" userId="a1476fac-d13a-475d-b11d-9dff0c674793" providerId="ADAL" clId="{25752D79-23C6-4356-B215-18B30C85D4A9}" dt="2025-05-27T08:26:20.251" v="2" actId="790"/>
          <ac:spMkLst>
            <pc:docMk/>
            <pc:sldMk cId="368439124" sldId="366"/>
            <ac:spMk id="16" creationId="{D11C8DD5-C7A4-D719-E187-BC6C02257F7E}"/>
          </ac:spMkLst>
        </pc:spChg>
      </pc:sldChg>
      <pc:sldChg chg="modSp mod">
        <pc:chgData name="David Seale" userId="a1476fac-d13a-475d-b11d-9dff0c674793" providerId="ADAL" clId="{25752D79-23C6-4356-B215-18B30C85D4A9}" dt="2025-05-27T08:26:20.251" v="2" actId="790"/>
        <pc:sldMkLst>
          <pc:docMk/>
          <pc:sldMk cId="1776881097" sldId="412"/>
        </pc:sldMkLst>
        <pc:spChg chg="mod">
          <ac:chgData name="David Seale" userId="a1476fac-d13a-475d-b11d-9dff0c674793" providerId="ADAL" clId="{25752D79-23C6-4356-B215-18B30C85D4A9}" dt="2025-05-27T08:26:20.251" v="2" actId="790"/>
          <ac:spMkLst>
            <pc:docMk/>
            <pc:sldMk cId="1776881097" sldId="412"/>
            <ac:spMk id="3" creationId="{CE4BC12D-CEEE-D375-15D7-923BB37CE608}"/>
          </ac:spMkLst>
        </pc:spChg>
        <pc:spChg chg="mod">
          <ac:chgData name="David Seale" userId="a1476fac-d13a-475d-b11d-9dff0c674793" providerId="ADAL" clId="{25752D79-23C6-4356-B215-18B30C85D4A9}" dt="2025-05-27T08:26:20.251" v="2" actId="790"/>
          <ac:spMkLst>
            <pc:docMk/>
            <pc:sldMk cId="1776881097" sldId="412"/>
            <ac:spMk id="4" creationId="{FAC8B032-9DF0-510F-0DCC-33EF179340A5}"/>
          </ac:spMkLst>
        </pc:spChg>
      </pc:sldChg>
      <pc:sldChg chg="modSp mod">
        <pc:chgData name="David Seale" userId="a1476fac-d13a-475d-b11d-9dff0c674793" providerId="ADAL" clId="{25752D79-23C6-4356-B215-18B30C85D4A9}" dt="2025-05-27T08:26:20.251" v="2" actId="790"/>
        <pc:sldMkLst>
          <pc:docMk/>
          <pc:sldMk cId="4028648865" sldId="413"/>
        </pc:sldMkLst>
        <pc:spChg chg="mod">
          <ac:chgData name="David Seale" userId="a1476fac-d13a-475d-b11d-9dff0c674793" providerId="ADAL" clId="{25752D79-23C6-4356-B215-18B30C85D4A9}" dt="2025-05-27T08:26:20.251" v="2" actId="790"/>
          <ac:spMkLst>
            <pc:docMk/>
            <pc:sldMk cId="4028648865" sldId="413"/>
            <ac:spMk id="3" creationId="{98F03678-D454-B81E-479A-D60A0AD9A0F6}"/>
          </ac:spMkLst>
        </pc:spChg>
        <pc:spChg chg="mod">
          <ac:chgData name="David Seale" userId="a1476fac-d13a-475d-b11d-9dff0c674793" providerId="ADAL" clId="{25752D79-23C6-4356-B215-18B30C85D4A9}" dt="2025-05-27T08:26:20.251" v="2" actId="790"/>
          <ac:spMkLst>
            <pc:docMk/>
            <pc:sldMk cId="4028648865" sldId="413"/>
            <ac:spMk id="8" creationId="{2EBD601A-1DFE-9149-6C53-FA969AB4A525}"/>
          </ac:spMkLst>
        </pc:spChg>
        <pc:spChg chg="mod">
          <ac:chgData name="David Seale" userId="a1476fac-d13a-475d-b11d-9dff0c674793" providerId="ADAL" clId="{25752D79-23C6-4356-B215-18B30C85D4A9}" dt="2025-05-27T08:26:20.251" v="2" actId="790"/>
          <ac:spMkLst>
            <pc:docMk/>
            <pc:sldMk cId="4028648865" sldId="413"/>
            <ac:spMk id="16" creationId="{41399172-FB08-909B-B1AE-3C8F87A687A5}"/>
          </ac:spMkLst>
        </pc:spChg>
      </pc:sldChg>
      <pc:sldChg chg="modSp mod">
        <pc:chgData name="David Seale" userId="a1476fac-d13a-475d-b11d-9dff0c674793" providerId="ADAL" clId="{25752D79-23C6-4356-B215-18B30C85D4A9}" dt="2025-05-27T08:26:20.251" v="2" actId="790"/>
        <pc:sldMkLst>
          <pc:docMk/>
          <pc:sldMk cId="3143555719" sldId="414"/>
        </pc:sldMkLst>
        <pc:spChg chg="mod">
          <ac:chgData name="David Seale" userId="a1476fac-d13a-475d-b11d-9dff0c674793" providerId="ADAL" clId="{25752D79-23C6-4356-B215-18B30C85D4A9}" dt="2025-05-27T08:26:20.251" v="2" actId="790"/>
          <ac:spMkLst>
            <pc:docMk/>
            <pc:sldMk cId="3143555719" sldId="414"/>
            <ac:spMk id="3" creationId="{8651D0E7-A7C5-0265-EF78-72604FF34843}"/>
          </ac:spMkLst>
        </pc:spChg>
        <pc:spChg chg="mod">
          <ac:chgData name="David Seale" userId="a1476fac-d13a-475d-b11d-9dff0c674793" providerId="ADAL" clId="{25752D79-23C6-4356-B215-18B30C85D4A9}" dt="2025-05-27T08:26:20.251" v="2" actId="790"/>
          <ac:spMkLst>
            <pc:docMk/>
            <pc:sldMk cId="3143555719" sldId="414"/>
            <ac:spMk id="8" creationId="{2CCA184F-3386-F0E9-1F36-13B1FE23073A}"/>
          </ac:spMkLst>
        </pc:spChg>
        <pc:spChg chg="mod">
          <ac:chgData name="David Seale" userId="a1476fac-d13a-475d-b11d-9dff0c674793" providerId="ADAL" clId="{25752D79-23C6-4356-B215-18B30C85D4A9}" dt="2025-05-27T08:26:20.251" v="2" actId="790"/>
          <ac:spMkLst>
            <pc:docMk/>
            <pc:sldMk cId="3143555719" sldId="414"/>
            <ac:spMk id="16" creationId="{FEAD8782-64D9-B93D-64BD-C0DB1D3070BC}"/>
          </ac:spMkLst>
        </pc:spChg>
      </pc:sldChg>
      <pc:sldChg chg="modSp mod">
        <pc:chgData name="David Seale" userId="a1476fac-d13a-475d-b11d-9dff0c674793" providerId="ADAL" clId="{25752D79-23C6-4356-B215-18B30C85D4A9}" dt="2025-05-27T08:26:20.251" v="2" actId="790"/>
        <pc:sldMkLst>
          <pc:docMk/>
          <pc:sldMk cId="4036146642" sldId="415"/>
        </pc:sldMkLst>
        <pc:spChg chg="mod">
          <ac:chgData name="David Seale" userId="a1476fac-d13a-475d-b11d-9dff0c674793" providerId="ADAL" clId="{25752D79-23C6-4356-B215-18B30C85D4A9}" dt="2025-05-27T08:26:20.251" v="2" actId="790"/>
          <ac:spMkLst>
            <pc:docMk/>
            <pc:sldMk cId="4036146642" sldId="415"/>
            <ac:spMk id="3" creationId="{5EA097AA-CC6D-C734-4A7A-FD096731FDD4}"/>
          </ac:spMkLst>
        </pc:spChg>
        <pc:spChg chg="mod">
          <ac:chgData name="David Seale" userId="a1476fac-d13a-475d-b11d-9dff0c674793" providerId="ADAL" clId="{25752D79-23C6-4356-B215-18B30C85D4A9}" dt="2025-05-27T08:26:20.251" v="2" actId="790"/>
          <ac:spMkLst>
            <pc:docMk/>
            <pc:sldMk cId="4036146642" sldId="415"/>
            <ac:spMk id="8" creationId="{95F7EFD4-CF52-4420-1539-7521A23C846B}"/>
          </ac:spMkLst>
        </pc:spChg>
        <pc:spChg chg="mod">
          <ac:chgData name="David Seale" userId="a1476fac-d13a-475d-b11d-9dff0c674793" providerId="ADAL" clId="{25752D79-23C6-4356-B215-18B30C85D4A9}" dt="2025-05-27T08:26:20.251" v="2" actId="790"/>
          <ac:spMkLst>
            <pc:docMk/>
            <pc:sldMk cId="4036146642" sldId="415"/>
            <ac:spMk id="16" creationId="{E32D4050-CC94-DF9B-0E27-1A288F876951}"/>
          </ac:spMkLst>
        </pc:spChg>
      </pc:sldChg>
      <pc:sldChg chg="modSp mod">
        <pc:chgData name="David Seale" userId="a1476fac-d13a-475d-b11d-9dff0c674793" providerId="ADAL" clId="{25752D79-23C6-4356-B215-18B30C85D4A9}" dt="2025-05-27T08:26:20.251" v="2" actId="790"/>
        <pc:sldMkLst>
          <pc:docMk/>
          <pc:sldMk cId="3855489509" sldId="416"/>
        </pc:sldMkLst>
        <pc:spChg chg="mod">
          <ac:chgData name="David Seale" userId="a1476fac-d13a-475d-b11d-9dff0c674793" providerId="ADAL" clId="{25752D79-23C6-4356-B215-18B30C85D4A9}" dt="2025-05-27T08:26:20.251" v="2" actId="790"/>
          <ac:spMkLst>
            <pc:docMk/>
            <pc:sldMk cId="3855489509" sldId="416"/>
            <ac:spMk id="3" creationId="{3583D828-0ED3-1693-FD12-634AD7DBECB6}"/>
          </ac:spMkLst>
        </pc:spChg>
        <pc:spChg chg="mod">
          <ac:chgData name="David Seale" userId="a1476fac-d13a-475d-b11d-9dff0c674793" providerId="ADAL" clId="{25752D79-23C6-4356-B215-18B30C85D4A9}" dt="2025-05-27T08:26:20.251" v="2" actId="790"/>
          <ac:spMkLst>
            <pc:docMk/>
            <pc:sldMk cId="3855489509" sldId="416"/>
            <ac:spMk id="8" creationId="{6060C1C6-0C07-C457-7736-63D78BB0B99D}"/>
          </ac:spMkLst>
        </pc:spChg>
        <pc:spChg chg="mod">
          <ac:chgData name="David Seale" userId="a1476fac-d13a-475d-b11d-9dff0c674793" providerId="ADAL" clId="{25752D79-23C6-4356-B215-18B30C85D4A9}" dt="2025-05-27T08:26:20.251" v="2" actId="790"/>
          <ac:spMkLst>
            <pc:docMk/>
            <pc:sldMk cId="3855489509" sldId="416"/>
            <ac:spMk id="16" creationId="{C268E0F4-6DD9-E686-3320-DA1CD677A816}"/>
          </ac:spMkLst>
        </pc:spChg>
      </pc:sldChg>
      <pc:sldChg chg="modSp mod">
        <pc:chgData name="David Seale" userId="a1476fac-d13a-475d-b11d-9dff0c674793" providerId="ADAL" clId="{25752D79-23C6-4356-B215-18B30C85D4A9}" dt="2025-05-27T08:26:20.251" v="2" actId="790"/>
        <pc:sldMkLst>
          <pc:docMk/>
          <pc:sldMk cId="2267074320" sldId="419"/>
        </pc:sldMkLst>
        <pc:spChg chg="mod">
          <ac:chgData name="David Seale" userId="a1476fac-d13a-475d-b11d-9dff0c674793" providerId="ADAL" clId="{25752D79-23C6-4356-B215-18B30C85D4A9}" dt="2025-05-27T08:26:20.251" v="2" actId="790"/>
          <ac:spMkLst>
            <pc:docMk/>
            <pc:sldMk cId="2267074320" sldId="419"/>
            <ac:spMk id="2" creationId="{4EDC6C8D-1AE7-7C39-4856-4C07BF07746D}"/>
          </ac:spMkLst>
        </pc:spChg>
        <pc:spChg chg="mod">
          <ac:chgData name="David Seale" userId="a1476fac-d13a-475d-b11d-9dff0c674793" providerId="ADAL" clId="{25752D79-23C6-4356-B215-18B30C85D4A9}" dt="2025-05-27T08:26:20.251" v="2" actId="790"/>
          <ac:spMkLst>
            <pc:docMk/>
            <pc:sldMk cId="2267074320" sldId="419"/>
            <ac:spMk id="6" creationId="{7DCDC7A3-425F-1CB5-8D41-9BD69B59121E}"/>
          </ac:spMkLst>
        </pc:spChg>
        <pc:spChg chg="mod">
          <ac:chgData name="David Seale" userId="a1476fac-d13a-475d-b11d-9dff0c674793" providerId="ADAL" clId="{25752D79-23C6-4356-B215-18B30C85D4A9}" dt="2025-05-27T08:26:20.251" v="2" actId="790"/>
          <ac:spMkLst>
            <pc:docMk/>
            <pc:sldMk cId="2267074320" sldId="419"/>
            <ac:spMk id="11" creationId="{9584D610-2528-BAE0-5714-155CF61D5AAD}"/>
          </ac:spMkLst>
        </pc:spChg>
        <pc:spChg chg="mod">
          <ac:chgData name="David Seale" userId="a1476fac-d13a-475d-b11d-9dff0c674793" providerId="ADAL" clId="{25752D79-23C6-4356-B215-18B30C85D4A9}" dt="2025-05-27T08:26:20.251" v="2" actId="790"/>
          <ac:spMkLst>
            <pc:docMk/>
            <pc:sldMk cId="2267074320" sldId="419"/>
            <ac:spMk id="12" creationId="{3F7DB817-8A85-2616-5D1B-FF9EAC8F1A95}"/>
          </ac:spMkLst>
        </pc:spChg>
      </pc:sldChg>
      <pc:sldChg chg="modSp mod">
        <pc:chgData name="David Seale" userId="a1476fac-d13a-475d-b11d-9dff0c674793" providerId="ADAL" clId="{25752D79-23C6-4356-B215-18B30C85D4A9}" dt="2025-05-27T08:26:20.251" v="2" actId="790"/>
        <pc:sldMkLst>
          <pc:docMk/>
          <pc:sldMk cId="3351970996" sldId="420"/>
        </pc:sldMkLst>
        <pc:spChg chg="mod">
          <ac:chgData name="David Seale" userId="a1476fac-d13a-475d-b11d-9dff0c674793" providerId="ADAL" clId="{25752D79-23C6-4356-B215-18B30C85D4A9}" dt="2025-05-27T08:26:20.251" v="2" actId="790"/>
          <ac:spMkLst>
            <pc:docMk/>
            <pc:sldMk cId="3351970996" sldId="420"/>
            <ac:spMk id="2" creationId="{083C4ED0-AF78-A494-3CDF-F337FF717341}"/>
          </ac:spMkLst>
        </pc:spChg>
        <pc:spChg chg="mod">
          <ac:chgData name="David Seale" userId="a1476fac-d13a-475d-b11d-9dff0c674793" providerId="ADAL" clId="{25752D79-23C6-4356-B215-18B30C85D4A9}" dt="2025-05-27T08:26:20.251" v="2" actId="790"/>
          <ac:spMkLst>
            <pc:docMk/>
            <pc:sldMk cId="3351970996" sldId="420"/>
            <ac:spMk id="6" creationId="{95B9C0CB-BCB7-460F-11FE-B0FAC173696E}"/>
          </ac:spMkLst>
        </pc:spChg>
        <pc:spChg chg="mod">
          <ac:chgData name="David Seale" userId="a1476fac-d13a-475d-b11d-9dff0c674793" providerId="ADAL" clId="{25752D79-23C6-4356-B215-18B30C85D4A9}" dt="2025-05-27T08:26:20.251" v="2" actId="790"/>
          <ac:spMkLst>
            <pc:docMk/>
            <pc:sldMk cId="3351970996" sldId="420"/>
            <ac:spMk id="11" creationId="{89046216-BC9B-4048-E895-6BA8C00D1029}"/>
          </ac:spMkLst>
        </pc:spChg>
        <pc:spChg chg="mod">
          <ac:chgData name="David Seale" userId="a1476fac-d13a-475d-b11d-9dff0c674793" providerId="ADAL" clId="{25752D79-23C6-4356-B215-18B30C85D4A9}" dt="2025-05-27T08:26:20.251" v="2" actId="790"/>
          <ac:spMkLst>
            <pc:docMk/>
            <pc:sldMk cId="3351970996" sldId="420"/>
            <ac:spMk id="12" creationId="{B6F6E668-283A-CB5F-78B6-2DD1989775F6}"/>
          </ac:spMkLst>
        </pc:spChg>
      </pc:sldChg>
      <pc:sldChg chg="modSp mod">
        <pc:chgData name="David Seale" userId="a1476fac-d13a-475d-b11d-9dff0c674793" providerId="ADAL" clId="{25752D79-23C6-4356-B215-18B30C85D4A9}" dt="2025-05-27T08:26:20.251" v="2" actId="790"/>
        <pc:sldMkLst>
          <pc:docMk/>
          <pc:sldMk cId="1619521803" sldId="421"/>
        </pc:sldMkLst>
        <pc:spChg chg="mod">
          <ac:chgData name="David Seale" userId="a1476fac-d13a-475d-b11d-9dff0c674793" providerId="ADAL" clId="{25752D79-23C6-4356-B215-18B30C85D4A9}" dt="2025-05-27T08:26:20.251" v="2" actId="790"/>
          <ac:spMkLst>
            <pc:docMk/>
            <pc:sldMk cId="1619521803" sldId="421"/>
            <ac:spMk id="2" creationId="{78B46145-BA1C-743E-E576-7E9D57D21094}"/>
          </ac:spMkLst>
        </pc:spChg>
        <pc:spChg chg="mod">
          <ac:chgData name="David Seale" userId="a1476fac-d13a-475d-b11d-9dff0c674793" providerId="ADAL" clId="{25752D79-23C6-4356-B215-18B30C85D4A9}" dt="2025-05-27T08:26:20.251" v="2" actId="790"/>
          <ac:spMkLst>
            <pc:docMk/>
            <pc:sldMk cId="1619521803" sldId="421"/>
            <ac:spMk id="6" creationId="{530903E3-A974-019A-8C3E-B51326C7208E}"/>
          </ac:spMkLst>
        </pc:spChg>
        <pc:spChg chg="mod">
          <ac:chgData name="David Seale" userId="a1476fac-d13a-475d-b11d-9dff0c674793" providerId="ADAL" clId="{25752D79-23C6-4356-B215-18B30C85D4A9}" dt="2025-05-27T08:26:20.251" v="2" actId="790"/>
          <ac:spMkLst>
            <pc:docMk/>
            <pc:sldMk cId="1619521803" sldId="421"/>
            <ac:spMk id="11" creationId="{84C7A7C2-48BF-5059-1F01-F269BA6B364C}"/>
          </ac:spMkLst>
        </pc:spChg>
        <pc:spChg chg="mod">
          <ac:chgData name="David Seale" userId="a1476fac-d13a-475d-b11d-9dff0c674793" providerId="ADAL" clId="{25752D79-23C6-4356-B215-18B30C85D4A9}" dt="2025-05-27T08:26:20.251" v="2" actId="790"/>
          <ac:spMkLst>
            <pc:docMk/>
            <pc:sldMk cId="1619521803" sldId="421"/>
            <ac:spMk id="12" creationId="{B7464C61-C8F2-114B-DFD8-8063830BF1DC}"/>
          </ac:spMkLst>
        </pc:spChg>
      </pc:sldChg>
      <pc:sldChg chg="modSp mod">
        <pc:chgData name="David Seale" userId="a1476fac-d13a-475d-b11d-9dff0c674793" providerId="ADAL" clId="{25752D79-23C6-4356-B215-18B30C85D4A9}" dt="2025-05-27T08:26:20.251" v="2" actId="790"/>
        <pc:sldMkLst>
          <pc:docMk/>
          <pc:sldMk cId="1840286883" sldId="422"/>
        </pc:sldMkLst>
        <pc:spChg chg="mod">
          <ac:chgData name="David Seale" userId="a1476fac-d13a-475d-b11d-9dff0c674793" providerId="ADAL" clId="{25752D79-23C6-4356-B215-18B30C85D4A9}" dt="2025-05-27T08:26:20.251" v="2" actId="790"/>
          <ac:spMkLst>
            <pc:docMk/>
            <pc:sldMk cId="1840286883" sldId="422"/>
            <ac:spMk id="2" creationId="{7A58EC61-75FA-C116-4594-AABF5F4E8A91}"/>
          </ac:spMkLst>
        </pc:spChg>
        <pc:spChg chg="mod">
          <ac:chgData name="David Seale" userId="a1476fac-d13a-475d-b11d-9dff0c674793" providerId="ADAL" clId="{25752D79-23C6-4356-B215-18B30C85D4A9}" dt="2025-05-27T08:26:20.251" v="2" actId="790"/>
          <ac:spMkLst>
            <pc:docMk/>
            <pc:sldMk cId="1840286883" sldId="422"/>
            <ac:spMk id="6" creationId="{BDD0AB35-DEDC-EEB8-E20A-D44C0620F089}"/>
          </ac:spMkLst>
        </pc:spChg>
        <pc:spChg chg="mod">
          <ac:chgData name="David Seale" userId="a1476fac-d13a-475d-b11d-9dff0c674793" providerId="ADAL" clId="{25752D79-23C6-4356-B215-18B30C85D4A9}" dt="2025-05-27T08:26:20.251" v="2" actId="790"/>
          <ac:spMkLst>
            <pc:docMk/>
            <pc:sldMk cId="1840286883" sldId="422"/>
            <ac:spMk id="11" creationId="{A5C3ED50-CAC7-3D7E-F8DB-E24E6470386D}"/>
          </ac:spMkLst>
        </pc:spChg>
        <pc:spChg chg="mod">
          <ac:chgData name="David Seale" userId="a1476fac-d13a-475d-b11d-9dff0c674793" providerId="ADAL" clId="{25752D79-23C6-4356-B215-18B30C85D4A9}" dt="2025-05-27T08:26:20.251" v="2" actId="790"/>
          <ac:spMkLst>
            <pc:docMk/>
            <pc:sldMk cId="1840286883" sldId="422"/>
            <ac:spMk id="12" creationId="{C1345121-6CC4-48EA-2D77-57DB6C08C72B}"/>
          </ac:spMkLst>
        </pc:spChg>
      </pc:sldChg>
      <pc:sldChg chg="modSp mod">
        <pc:chgData name="David Seale" userId="a1476fac-d13a-475d-b11d-9dff0c674793" providerId="ADAL" clId="{25752D79-23C6-4356-B215-18B30C85D4A9}" dt="2025-05-27T08:26:20.251" v="2" actId="790"/>
        <pc:sldMkLst>
          <pc:docMk/>
          <pc:sldMk cId="2226124939" sldId="424"/>
        </pc:sldMkLst>
        <pc:spChg chg="mod">
          <ac:chgData name="David Seale" userId="a1476fac-d13a-475d-b11d-9dff0c674793" providerId="ADAL" clId="{25752D79-23C6-4356-B215-18B30C85D4A9}" dt="2025-05-27T08:26:20.251" v="2" actId="790"/>
          <ac:spMkLst>
            <pc:docMk/>
            <pc:sldMk cId="2226124939" sldId="424"/>
            <ac:spMk id="2" creationId="{F99C73DC-2D2D-1641-2E66-9E10C729D8B5}"/>
          </ac:spMkLst>
        </pc:spChg>
        <pc:spChg chg="mod">
          <ac:chgData name="David Seale" userId="a1476fac-d13a-475d-b11d-9dff0c674793" providerId="ADAL" clId="{25752D79-23C6-4356-B215-18B30C85D4A9}" dt="2025-05-27T08:26:20.251" v="2" actId="790"/>
          <ac:spMkLst>
            <pc:docMk/>
            <pc:sldMk cId="2226124939" sldId="424"/>
            <ac:spMk id="6" creationId="{F9DEC271-9517-A95B-83D6-471F5AAA94C8}"/>
          </ac:spMkLst>
        </pc:spChg>
        <pc:spChg chg="mod">
          <ac:chgData name="David Seale" userId="a1476fac-d13a-475d-b11d-9dff0c674793" providerId="ADAL" clId="{25752D79-23C6-4356-B215-18B30C85D4A9}" dt="2025-05-27T08:26:20.251" v="2" actId="790"/>
          <ac:spMkLst>
            <pc:docMk/>
            <pc:sldMk cId="2226124939" sldId="424"/>
            <ac:spMk id="11" creationId="{0FF3BEFD-BF80-636B-76B2-574D0FBDA652}"/>
          </ac:spMkLst>
        </pc:spChg>
        <pc:spChg chg="mod">
          <ac:chgData name="David Seale" userId="a1476fac-d13a-475d-b11d-9dff0c674793" providerId="ADAL" clId="{25752D79-23C6-4356-B215-18B30C85D4A9}" dt="2025-05-27T08:26:20.251" v="2" actId="790"/>
          <ac:spMkLst>
            <pc:docMk/>
            <pc:sldMk cId="2226124939" sldId="424"/>
            <ac:spMk id="12" creationId="{EAA4C06B-7C69-FA04-B887-6BA9A6EB755C}"/>
          </ac:spMkLst>
        </pc:spChg>
      </pc:sldChg>
      <pc:sldChg chg="modSp mod">
        <pc:chgData name="David Seale" userId="a1476fac-d13a-475d-b11d-9dff0c674793" providerId="ADAL" clId="{25752D79-23C6-4356-B215-18B30C85D4A9}" dt="2025-05-27T08:26:20.251" v="2" actId="790"/>
        <pc:sldMkLst>
          <pc:docMk/>
          <pc:sldMk cId="485422013" sldId="425"/>
        </pc:sldMkLst>
        <pc:spChg chg="mod">
          <ac:chgData name="David Seale" userId="a1476fac-d13a-475d-b11d-9dff0c674793" providerId="ADAL" clId="{25752D79-23C6-4356-B215-18B30C85D4A9}" dt="2025-05-27T08:26:20.251" v="2" actId="790"/>
          <ac:spMkLst>
            <pc:docMk/>
            <pc:sldMk cId="485422013" sldId="425"/>
            <ac:spMk id="2" creationId="{D89C4B50-546E-537F-6E3A-ED763BB03637}"/>
          </ac:spMkLst>
        </pc:spChg>
        <pc:spChg chg="mod">
          <ac:chgData name="David Seale" userId="a1476fac-d13a-475d-b11d-9dff0c674793" providerId="ADAL" clId="{25752D79-23C6-4356-B215-18B30C85D4A9}" dt="2025-05-27T08:26:20.251" v="2" actId="790"/>
          <ac:spMkLst>
            <pc:docMk/>
            <pc:sldMk cId="485422013" sldId="425"/>
            <ac:spMk id="6" creationId="{7100098E-D5E8-72E0-BE6A-7F0A6385BFA5}"/>
          </ac:spMkLst>
        </pc:spChg>
        <pc:spChg chg="mod">
          <ac:chgData name="David Seale" userId="a1476fac-d13a-475d-b11d-9dff0c674793" providerId="ADAL" clId="{25752D79-23C6-4356-B215-18B30C85D4A9}" dt="2025-05-27T08:26:20.251" v="2" actId="790"/>
          <ac:spMkLst>
            <pc:docMk/>
            <pc:sldMk cId="485422013" sldId="425"/>
            <ac:spMk id="11" creationId="{C5B442B0-36E7-36B0-CC0F-D0BC5BC654A4}"/>
          </ac:spMkLst>
        </pc:spChg>
        <pc:spChg chg="mod">
          <ac:chgData name="David Seale" userId="a1476fac-d13a-475d-b11d-9dff0c674793" providerId="ADAL" clId="{25752D79-23C6-4356-B215-18B30C85D4A9}" dt="2025-05-27T08:26:20.251" v="2" actId="790"/>
          <ac:spMkLst>
            <pc:docMk/>
            <pc:sldMk cId="485422013" sldId="425"/>
            <ac:spMk id="12" creationId="{2350B121-7587-4DB5-A78B-C481CBD9E592}"/>
          </ac:spMkLst>
        </pc:spChg>
      </pc:sldChg>
      <pc:sldChg chg="modSp mod">
        <pc:chgData name="David Seale" userId="a1476fac-d13a-475d-b11d-9dff0c674793" providerId="ADAL" clId="{25752D79-23C6-4356-B215-18B30C85D4A9}" dt="2025-05-27T08:26:20.251" v="2" actId="790"/>
        <pc:sldMkLst>
          <pc:docMk/>
          <pc:sldMk cId="3756425495" sldId="426"/>
        </pc:sldMkLst>
        <pc:spChg chg="mod">
          <ac:chgData name="David Seale" userId="a1476fac-d13a-475d-b11d-9dff0c674793" providerId="ADAL" clId="{25752D79-23C6-4356-B215-18B30C85D4A9}" dt="2025-05-27T08:26:20.251" v="2" actId="790"/>
          <ac:spMkLst>
            <pc:docMk/>
            <pc:sldMk cId="3756425495" sldId="426"/>
            <ac:spMk id="2" creationId="{8C22CD97-596C-EE30-9113-900C5E74606D}"/>
          </ac:spMkLst>
        </pc:spChg>
        <pc:spChg chg="mod">
          <ac:chgData name="David Seale" userId="a1476fac-d13a-475d-b11d-9dff0c674793" providerId="ADAL" clId="{25752D79-23C6-4356-B215-18B30C85D4A9}" dt="2025-05-27T08:26:20.251" v="2" actId="790"/>
          <ac:spMkLst>
            <pc:docMk/>
            <pc:sldMk cId="3756425495" sldId="426"/>
            <ac:spMk id="6" creationId="{6A876759-4A65-F057-3435-BCF5C5CA3A55}"/>
          </ac:spMkLst>
        </pc:spChg>
        <pc:spChg chg="mod">
          <ac:chgData name="David Seale" userId="a1476fac-d13a-475d-b11d-9dff0c674793" providerId="ADAL" clId="{25752D79-23C6-4356-B215-18B30C85D4A9}" dt="2025-05-27T08:26:20.251" v="2" actId="790"/>
          <ac:spMkLst>
            <pc:docMk/>
            <pc:sldMk cId="3756425495" sldId="426"/>
            <ac:spMk id="11" creationId="{0F7C426E-FA19-4CA5-F855-14C20C4DF592}"/>
          </ac:spMkLst>
        </pc:spChg>
        <pc:spChg chg="mod">
          <ac:chgData name="David Seale" userId="a1476fac-d13a-475d-b11d-9dff0c674793" providerId="ADAL" clId="{25752D79-23C6-4356-B215-18B30C85D4A9}" dt="2025-05-27T08:26:20.251" v="2" actId="790"/>
          <ac:spMkLst>
            <pc:docMk/>
            <pc:sldMk cId="3756425495" sldId="426"/>
            <ac:spMk id="12" creationId="{48A6C382-1F12-D608-FD46-16D8833F4137}"/>
          </ac:spMkLst>
        </pc:spChg>
      </pc:sldChg>
    </pc:docChg>
  </pc:docChgLst>
  <pc:docChgLst>
    <pc:chgData name="Rachael Chagnon" userId="S::rachael.chagnon@eqs.com::871bcc3d-b11c-46b6-b535-e388c92a0813" providerId="AD" clId="Web-{EECB2A6C-9211-A0DE-5FB5-17DD16F31FE7}"/>
    <pc:docChg chg="addSld delSld modSld sldOrd">
      <pc:chgData name="Rachael Chagnon" userId="S::rachael.chagnon@eqs.com::871bcc3d-b11c-46b6-b535-e388c92a0813" providerId="AD" clId="Web-{EECB2A6C-9211-A0DE-5FB5-17DD16F31FE7}" dt="2025-06-03T04:40:44.990" v="677"/>
      <pc:docMkLst>
        <pc:docMk/>
      </pc:docMkLst>
      <pc:sldChg chg="modSp">
        <pc:chgData name="Rachael Chagnon" userId="S::rachael.chagnon@eqs.com::871bcc3d-b11c-46b6-b535-e388c92a0813" providerId="AD" clId="Web-{EECB2A6C-9211-A0DE-5FB5-17DD16F31FE7}" dt="2025-06-02T23:07:44.184" v="521" actId="20577"/>
        <pc:sldMkLst>
          <pc:docMk/>
          <pc:sldMk cId="1832310471" sldId="265"/>
        </pc:sldMkLst>
        <pc:spChg chg="mod">
          <ac:chgData name="Rachael Chagnon" userId="S::rachael.chagnon@eqs.com::871bcc3d-b11c-46b6-b535-e388c92a0813" providerId="AD" clId="Web-{EECB2A6C-9211-A0DE-5FB5-17DD16F31FE7}" dt="2025-06-02T23:07:44.184" v="521" actId="20577"/>
          <ac:spMkLst>
            <pc:docMk/>
            <pc:sldMk cId="1832310471" sldId="265"/>
            <ac:spMk id="3" creationId="{00000000-0000-0000-0000-000000000000}"/>
          </ac:spMkLst>
        </pc:spChg>
        <pc:picChg chg="mod">
          <ac:chgData name="Rachael Chagnon" userId="S::rachael.chagnon@eqs.com::871bcc3d-b11c-46b6-b535-e388c92a0813" providerId="AD" clId="Web-{EECB2A6C-9211-A0DE-5FB5-17DD16F31FE7}" dt="2025-06-02T23:07:36.527" v="520" actId="1076"/>
          <ac:picMkLst>
            <pc:docMk/>
            <pc:sldMk cId="1832310471" sldId="265"/>
            <ac:picMk id="10" creationId="{A0C411E3-A15E-1B67-5B9E-7B5D2144371C}"/>
          </ac:picMkLst>
        </pc:picChg>
      </pc:sldChg>
      <pc:sldChg chg="addSp delSp modSp">
        <pc:chgData name="Rachael Chagnon" userId="S::rachael.chagnon@eqs.com::871bcc3d-b11c-46b6-b535-e388c92a0813" providerId="AD" clId="Web-{EECB2A6C-9211-A0DE-5FB5-17DD16F31FE7}" dt="2025-06-02T22:54:59.444" v="434" actId="14100"/>
        <pc:sldMkLst>
          <pc:docMk/>
          <pc:sldMk cId="3763710424" sldId="266"/>
        </pc:sldMkLst>
        <pc:spChg chg="del mod">
          <ac:chgData name="Rachael Chagnon" userId="S::rachael.chagnon@eqs.com::871bcc3d-b11c-46b6-b535-e388c92a0813" providerId="AD" clId="Web-{EECB2A6C-9211-A0DE-5FB5-17DD16F31FE7}" dt="2025-06-02T21:33:34.645" v="205"/>
          <ac:spMkLst>
            <pc:docMk/>
            <pc:sldMk cId="3763710424" sldId="266"/>
            <ac:spMk id="3" creationId="{00000000-0000-0000-0000-000000000000}"/>
          </ac:spMkLst>
        </pc:spChg>
        <pc:spChg chg="add mod">
          <ac:chgData name="Rachael Chagnon" userId="S::rachael.chagnon@eqs.com::871bcc3d-b11c-46b6-b535-e388c92a0813" providerId="AD" clId="Web-{EECB2A6C-9211-A0DE-5FB5-17DD16F31FE7}" dt="2025-06-02T22:54:59.444" v="434" actId="14100"/>
          <ac:spMkLst>
            <pc:docMk/>
            <pc:sldMk cId="3763710424" sldId="266"/>
            <ac:spMk id="5" creationId="{0ED6258D-65CE-BE6D-C62F-D9CA7544A291}"/>
          </ac:spMkLst>
        </pc:spChg>
        <pc:spChg chg="add del mod">
          <ac:chgData name="Rachael Chagnon" userId="S::rachael.chagnon@eqs.com::871bcc3d-b11c-46b6-b535-e388c92a0813" providerId="AD" clId="Web-{EECB2A6C-9211-A0DE-5FB5-17DD16F31FE7}" dt="2025-06-02T21:33:39.442" v="206"/>
          <ac:spMkLst>
            <pc:docMk/>
            <pc:sldMk cId="3763710424" sldId="266"/>
            <ac:spMk id="8" creationId="{2A325B06-FE3E-B53E-2900-3E3A8F87AB95}"/>
          </ac:spMkLst>
        </pc:spChg>
        <pc:picChg chg="mod">
          <ac:chgData name="Rachael Chagnon" userId="S::rachael.chagnon@eqs.com::871bcc3d-b11c-46b6-b535-e388c92a0813" providerId="AD" clId="Web-{EECB2A6C-9211-A0DE-5FB5-17DD16F31FE7}" dt="2025-06-02T21:31:06.671" v="174" actId="14100"/>
          <ac:picMkLst>
            <pc:docMk/>
            <pc:sldMk cId="3763710424" sldId="266"/>
            <ac:picMk id="29" creationId="{B0C87A08-D104-7429-6196-1949FBC313CA}"/>
          </ac:picMkLst>
        </pc:picChg>
      </pc:sldChg>
      <pc:sldChg chg="addSp delSp modSp del mod modShow modCm">
        <pc:chgData name="Rachael Chagnon" userId="S::rachael.chagnon@eqs.com::871bcc3d-b11c-46b6-b535-e388c92a0813" providerId="AD" clId="Web-{EECB2A6C-9211-A0DE-5FB5-17DD16F31FE7}" dt="2025-06-02T21:57:11.647" v="294"/>
        <pc:sldMkLst>
          <pc:docMk/>
          <pc:sldMk cId="1778359718" sldId="278"/>
        </pc:sldMkLst>
        <pc:spChg chg="mod">
          <ac:chgData name="Rachael Chagnon" userId="S::rachael.chagnon@eqs.com::871bcc3d-b11c-46b6-b535-e388c92a0813" providerId="AD" clId="Web-{EECB2A6C-9211-A0DE-5FB5-17DD16F31FE7}" dt="2025-06-02T21:29:12.261" v="161" actId="20577"/>
          <ac:spMkLst>
            <pc:docMk/>
            <pc:sldMk cId="1778359718" sldId="278"/>
            <ac:spMk id="2" creationId="{00000000-0000-0000-0000-000000000000}"/>
          </ac:spMkLst>
        </pc:spChg>
        <pc:spChg chg="add del mod">
          <ac:chgData name="Rachael Chagnon" userId="S::rachael.chagnon@eqs.com::871bcc3d-b11c-46b6-b535-e388c92a0813" providerId="AD" clId="Web-{EECB2A6C-9211-A0DE-5FB5-17DD16F31FE7}" dt="2025-06-02T21:30:22.107" v="171"/>
          <ac:spMkLst>
            <pc:docMk/>
            <pc:sldMk cId="1778359718" sldId="278"/>
            <ac:spMk id="3" creationId="{762135B7-F401-E6D2-D31A-00CEE846FD89}"/>
          </ac:spMkLst>
        </pc:spChg>
        <pc:spChg chg="add del mod">
          <ac:chgData name="Rachael Chagnon" userId="S::rachael.chagnon@eqs.com::871bcc3d-b11c-46b6-b535-e388c92a0813" providerId="AD" clId="Web-{EECB2A6C-9211-A0DE-5FB5-17DD16F31FE7}" dt="2025-06-02T21:30:19.044" v="168"/>
          <ac:spMkLst>
            <pc:docMk/>
            <pc:sldMk cId="1778359718" sldId="278"/>
            <ac:spMk id="5" creationId="{5E150079-25AA-42B1-23D9-B001D6FF050E}"/>
          </ac:spMkLst>
        </pc:spChg>
        <pc:extLst>
          <p:ext xmlns:p="http://schemas.openxmlformats.org/presentationml/2006/main" uri="{D6D511B9-2390-475A-947B-AFAB55BFBCF1}">
            <pc226:cmChg xmlns:pc226="http://schemas.microsoft.com/office/powerpoint/2022/06/main/command" chg="mod">
              <pc226:chgData name="Rachael Chagnon" userId="S::rachael.chagnon@eqs.com::871bcc3d-b11c-46b6-b535-e388c92a0813" providerId="AD" clId="Web-{EECB2A6C-9211-A0DE-5FB5-17DD16F31FE7}" dt="2025-06-02T21:29:12.261" v="161" actId="20577"/>
              <pc2:cmMkLst xmlns:pc2="http://schemas.microsoft.com/office/powerpoint/2019/9/main/command">
                <pc:docMk/>
                <pc:sldMk cId="1778359718" sldId="278"/>
                <pc2:cmMk id="{18B7132F-F9D6-475F-8E3A-1438C0EEE7A8}"/>
              </pc2:cmMkLst>
            </pc226:cmChg>
          </p:ext>
        </pc:extLst>
      </pc:sldChg>
      <pc:sldChg chg="del mod ord modShow">
        <pc:chgData name="Rachael Chagnon" userId="S::rachael.chagnon@eqs.com::871bcc3d-b11c-46b6-b535-e388c92a0813" providerId="AD" clId="Web-{EECB2A6C-9211-A0DE-5FB5-17DD16F31FE7}" dt="2025-06-02T21:27:07.757" v="141"/>
        <pc:sldMkLst>
          <pc:docMk/>
          <pc:sldMk cId="3585255188" sldId="328"/>
        </pc:sldMkLst>
      </pc:sldChg>
      <pc:sldChg chg="modSp">
        <pc:chgData name="Rachael Chagnon" userId="S::rachael.chagnon@eqs.com::871bcc3d-b11c-46b6-b535-e388c92a0813" providerId="AD" clId="Web-{EECB2A6C-9211-A0DE-5FB5-17DD16F31FE7}" dt="2025-06-02T21:27:59.868" v="148" actId="1076"/>
        <pc:sldMkLst>
          <pc:docMk/>
          <pc:sldMk cId="2489747919" sldId="335"/>
        </pc:sldMkLst>
        <pc:spChg chg="mod">
          <ac:chgData name="Rachael Chagnon" userId="S::rachael.chagnon@eqs.com::871bcc3d-b11c-46b6-b535-e388c92a0813" providerId="AD" clId="Web-{EECB2A6C-9211-A0DE-5FB5-17DD16F31FE7}" dt="2025-06-02T21:27:59.868" v="148" actId="1076"/>
          <ac:spMkLst>
            <pc:docMk/>
            <pc:sldMk cId="2489747919" sldId="335"/>
            <ac:spMk id="3" creationId="{AE1E2D1F-149F-2CA7-78FE-2BFC8C474763}"/>
          </ac:spMkLst>
        </pc:spChg>
      </pc:sldChg>
      <pc:sldChg chg="del">
        <pc:chgData name="Rachael Chagnon" userId="S::rachael.chagnon@eqs.com::871bcc3d-b11c-46b6-b535-e388c92a0813" providerId="AD" clId="Web-{EECB2A6C-9211-A0DE-5FB5-17DD16F31FE7}" dt="2025-06-02T21:18:45.115" v="9"/>
        <pc:sldMkLst>
          <pc:docMk/>
          <pc:sldMk cId="4028648865" sldId="413"/>
        </pc:sldMkLst>
      </pc:sldChg>
      <pc:sldChg chg="del">
        <pc:chgData name="Rachael Chagnon" userId="S::rachael.chagnon@eqs.com::871bcc3d-b11c-46b6-b535-e388c92a0813" providerId="AD" clId="Web-{EECB2A6C-9211-A0DE-5FB5-17DD16F31FE7}" dt="2025-06-02T21:28:43.775" v="155"/>
        <pc:sldMkLst>
          <pc:docMk/>
          <pc:sldMk cId="3143555719" sldId="414"/>
        </pc:sldMkLst>
      </pc:sldChg>
      <pc:sldChg chg="del">
        <pc:chgData name="Rachael Chagnon" userId="S::rachael.chagnon@eqs.com::871bcc3d-b11c-46b6-b535-e388c92a0813" providerId="AD" clId="Web-{EECB2A6C-9211-A0DE-5FB5-17DD16F31FE7}" dt="2025-06-02T22:06:24.101" v="358"/>
        <pc:sldMkLst>
          <pc:docMk/>
          <pc:sldMk cId="4036146642" sldId="415"/>
        </pc:sldMkLst>
      </pc:sldChg>
      <pc:sldChg chg="del">
        <pc:chgData name="Rachael Chagnon" userId="S::rachael.chagnon@eqs.com::871bcc3d-b11c-46b6-b535-e388c92a0813" providerId="AD" clId="Web-{EECB2A6C-9211-A0DE-5FB5-17DD16F31FE7}" dt="2025-06-02T23:00:06.731" v="487"/>
        <pc:sldMkLst>
          <pc:docMk/>
          <pc:sldMk cId="3855489509" sldId="416"/>
        </pc:sldMkLst>
      </pc:sldChg>
      <pc:sldChg chg="modSp del">
        <pc:chgData name="Rachael Chagnon" userId="S::rachael.chagnon@eqs.com::871bcc3d-b11c-46b6-b535-e388c92a0813" providerId="AD" clId="Web-{EECB2A6C-9211-A0DE-5FB5-17DD16F31FE7}" dt="2025-06-02T21:23:30.796" v="46"/>
        <pc:sldMkLst>
          <pc:docMk/>
          <pc:sldMk cId="2267074320" sldId="419"/>
        </pc:sldMkLst>
        <pc:spChg chg="mod">
          <ac:chgData name="Rachael Chagnon" userId="S::rachael.chagnon@eqs.com::871bcc3d-b11c-46b6-b535-e388c92a0813" providerId="AD" clId="Web-{EECB2A6C-9211-A0DE-5FB5-17DD16F31FE7}" dt="2025-06-02T21:13:55.636" v="1" actId="20577"/>
          <ac:spMkLst>
            <pc:docMk/>
            <pc:sldMk cId="2267074320" sldId="419"/>
            <ac:spMk id="2" creationId="{4EDC6C8D-1AE7-7C39-4856-4C07BF07746D}"/>
          </ac:spMkLst>
        </pc:spChg>
      </pc:sldChg>
      <pc:sldChg chg="del mod modShow">
        <pc:chgData name="Rachael Chagnon" userId="S::rachael.chagnon@eqs.com::871bcc3d-b11c-46b6-b535-e388c92a0813" providerId="AD" clId="Web-{EECB2A6C-9211-A0DE-5FB5-17DD16F31FE7}" dt="2025-06-02T21:59:35.901" v="312"/>
        <pc:sldMkLst>
          <pc:docMk/>
          <pc:sldMk cId="3351970996" sldId="420"/>
        </pc:sldMkLst>
      </pc:sldChg>
      <pc:sldChg chg="del mod modShow">
        <pc:chgData name="Rachael Chagnon" userId="S::rachael.chagnon@eqs.com::871bcc3d-b11c-46b6-b535-e388c92a0813" providerId="AD" clId="Web-{EECB2A6C-9211-A0DE-5FB5-17DD16F31FE7}" dt="2025-06-02T22:57:31.080" v="455"/>
        <pc:sldMkLst>
          <pc:docMk/>
          <pc:sldMk cId="1619521803" sldId="421"/>
        </pc:sldMkLst>
      </pc:sldChg>
      <pc:sldChg chg="del mod ord modShow">
        <pc:chgData name="Rachael Chagnon" userId="S::rachael.chagnon@eqs.com::871bcc3d-b11c-46b6-b535-e388c92a0813" providerId="AD" clId="Web-{EECB2A6C-9211-A0DE-5FB5-17DD16F31FE7}" dt="2025-06-02T22:01:28.936" v="337"/>
        <pc:sldMkLst>
          <pc:docMk/>
          <pc:sldMk cId="1840286883" sldId="422"/>
        </pc:sldMkLst>
      </pc:sldChg>
      <pc:sldChg chg="del mod modShow">
        <pc:chgData name="Rachael Chagnon" userId="S::rachael.chagnon@eqs.com::871bcc3d-b11c-46b6-b535-e388c92a0813" providerId="AD" clId="Web-{EECB2A6C-9211-A0DE-5FB5-17DD16F31FE7}" dt="2025-06-02T22:05:24.881" v="350"/>
        <pc:sldMkLst>
          <pc:docMk/>
          <pc:sldMk cId="2226124939" sldId="424"/>
        </pc:sldMkLst>
      </pc:sldChg>
      <pc:sldChg chg="del mod modShow">
        <pc:chgData name="Rachael Chagnon" userId="S::rachael.chagnon@eqs.com::871bcc3d-b11c-46b6-b535-e388c92a0813" providerId="AD" clId="Web-{EECB2A6C-9211-A0DE-5FB5-17DD16F31FE7}" dt="2025-06-02T22:59:35.088" v="480"/>
        <pc:sldMkLst>
          <pc:docMk/>
          <pc:sldMk cId="485422013" sldId="425"/>
        </pc:sldMkLst>
      </pc:sldChg>
      <pc:sldChg chg="del mod modShow">
        <pc:chgData name="Rachael Chagnon" userId="S::rachael.chagnon@eqs.com::871bcc3d-b11c-46b6-b535-e388c92a0813" providerId="AD" clId="Web-{EECB2A6C-9211-A0DE-5FB5-17DD16F31FE7}" dt="2025-06-02T23:03:00.196" v="519"/>
        <pc:sldMkLst>
          <pc:docMk/>
          <pc:sldMk cId="3756425495" sldId="426"/>
        </pc:sldMkLst>
      </pc:sldChg>
      <pc:sldChg chg="del mod modShow">
        <pc:chgData name="Rachael Chagnon" userId="S::rachael.chagnon@eqs.com::871bcc3d-b11c-46b6-b535-e388c92a0813" providerId="AD" clId="Web-{EECB2A6C-9211-A0DE-5FB5-17DD16F31FE7}" dt="2025-06-02T23:14:07.851" v="584"/>
        <pc:sldMkLst>
          <pc:docMk/>
          <pc:sldMk cId="4119254558" sldId="427"/>
        </pc:sldMkLst>
      </pc:sldChg>
      <pc:sldChg chg="del">
        <pc:chgData name="Rachael Chagnon" userId="S::rachael.chagnon@eqs.com::871bcc3d-b11c-46b6-b535-e388c92a0813" providerId="AD" clId="Web-{EECB2A6C-9211-A0DE-5FB5-17DD16F31FE7}" dt="2025-06-02T23:00:53.187" v="493"/>
        <pc:sldMkLst>
          <pc:docMk/>
          <pc:sldMk cId="807718132" sldId="428"/>
        </pc:sldMkLst>
      </pc:sldChg>
      <pc:sldChg chg="del mod modShow">
        <pc:chgData name="Rachael Chagnon" userId="S::rachael.chagnon@eqs.com::871bcc3d-b11c-46b6-b535-e388c92a0813" providerId="AD" clId="Web-{EECB2A6C-9211-A0DE-5FB5-17DD16F31FE7}" dt="2025-06-02T22:19:34.703" v="400"/>
        <pc:sldMkLst>
          <pc:docMk/>
          <pc:sldMk cId="2720251488" sldId="431"/>
        </pc:sldMkLst>
      </pc:sldChg>
      <pc:sldChg chg="del mod modShow">
        <pc:chgData name="Rachael Chagnon" userId="S::rachael.chagnon@eqs.com::871bcc3d-b11c-46b6-b535-e388c92a0813" providerId="AD" clId="Web-{EECB2A6C-9211-A0DE-5FB5-17DD16F31FE7}" dt="2025-06-02T23:22:04.259" v="631"/>
        <pc:sldMkLst>
          <pc:docMk/>
          <pc:sldMk cId="3385669951" sldId="432"/>
        </pc:sldMkLst>
      </pc:sldChg>
      <pc:sldChg chg="del">
        <pc:chgData name="Rachael Chagnon" userId="S::rachael.chagnon@eqs.com::871bcc3d-b11c-46b6-b535-e388c92a0813" providerId="AD" clId="Web-{EECB2A6C-9211-A0DE-5FB5-17DD16F31FE7}" dt="2025-06-02T23:01:33.237" v="501"/>
        <pc:sldMkLst>
          <pc:docMk/>
          <pc:sldMk cId="3742963576" sldId="433"/>
        </pc:sldMkLst>
      </pc:sldChg>
      <pc:sldChg chg="del mod modShow">
        <pc:chgData name="Rachael Chagnon" userId="S::rachael.chagnon@eqs.com::871bcc3d-b11c-46b6-b535-e388c92a0813" providerId="AD" clId="Web-{EECB2A6C-9211-A0DE-5FB5-17DD16F31FE7}" dt="2025-06-03T04:40:44.990" v="677"/>
        <pc:sldMkLst>
          <pc:docMk/>
          <pc:sldMk cId="523533609" sldId="434"/>
        </pc:sldMkLst>
      </pc:sldChg>
      <pc:sldChg chg="add del mod modShow">
        <pc:chgData name="Rachael Chagnon" userId="S::rachael.chagnon@eqs.com::871bcc3d-b11c-46b6-b535-e388c92a0813" providerId="AD" clId="Web-{EECB2A6C-9211-A0DE-5FB5-17DD16F31FE7}" dt="2025-06-02T23:18:55.152" v="603"/>
        <pc:sldMkLst>
          <pc:docMk/>
          <pc:sldMk cId="3001188693" sldId="435"/>
        </pc:sldMkLst>
      </pc:sldChg>
      <pc:sldChg chg="delSp modSp add">
        <pc:chgData name="Rachael Chagnon" userId="S::rachael.chagnon@eqs.com::871bcc3d-b11c-46b6-b535-e388c92a0813" providerId="AD" clId="Web-{EECB2A6C-9211-A0DE-5FB5-17DD16F31FE7}" dt="2025-06-02T21:18:36.943" v="8" actId="20577"/>
        <pc:sldMkLst>
          <pc:docMk/>
          <pc:sldMk cId="3777196910" sldId="436"/>
        </pc:sldMkLst>
        <pc:spChg chg="del">
          <ac:chgData name="Rachael Chagnon" userId="S::rachael.chagnon@eqs.com::871bcc3d-b11c-46b6-b535-e388c92a0813" providerId="AD" clId="Web-{EECB2A6C-9211-A0DE-5FB5-17DD16F31FE7}" dt="2025-06-02T21:18:32.239" v="7"/>
          <ac:spMkLst>
            <pc:docMk/>
            <pc:sldMk cId="3777196910" sldId="436"/>
            <ac:spMk id="2" creationId="{1F1C1DB8-331F-C510-3A20-A129676FB9DD}"/>
          </ac:spMkLst>
        </pc:spChg>
        <pc:spChg chg="mod">
          <ac:chgData name="Rachael Chagnon" userId="S::rachael.chagnon@eqs.com::871bcc3d-b11c-46b6-b535-e388c92a0813" providerId="AD" clId="Web-{EECB2A6C-9211-A0DE-5FB5-17DD16F31FE7}" dt="2025-06-02T21:18:30.395" v="6" actId="20577"/>
          <ac:spMkLst>
            <pc:docMk/>
            <pc:sldMk cId="3777196910" sldId="436"/>
            <ac:spMk id="3" creationId="{00000000-0000-0000-0000-000000000000}"/>
          </ac:spMkLst>
        </pc:spChg>
        <pc:spChg chg="mod">
          <ac:chgData name="Rachael Chagnon" userId="S::rachael.chagnon@eqs.com::871bcc3d-b11c-46b6-b535-e388c92a0813" providerId="AD" clId="Web-{EECB2A6C-9211-A0DE-5FB5-17DD16F31FE7}" dt="2025-06-02T21:18:36.943" v="8" actId="20577"/>
          <ac:spMkLst>
            <pc:docMk/>
            <pc:sldMk cId="3777196910" sldId="436"/>
            <ac:spMk id="16" creationId="{9D7D3024-8904-53B0-A014-48A0A07E480F}"/>
          </ac:spMkLst>
        </pc:spChg>
      </pc:sldChg>
      <pc:sldChg chg="addSp delSp modSp add">
        <pc:chgData name="Rachael Chagnon" userId="S::rachael.chagnon@eqs.com::871bcc3d-b11c-46b6-b535-e388c92a0813" providerId="AD" clId="Web-{EECB2A6C-9211-A0DE-5FB5-17DD16F31FE7}" dt="2025-06-02T22:55:11.648" v="435" actId="1076"/>
        <pc:sldMkLst>
          <pc:docMk/>
          <pc:sldMk cId="4018379043" sldId="437"/>
        </pc:sldMkLst>
        <pc:spChg chg="mod">
          <ac:chgData name="Rachael Chagnon" userId="S::rachael.chagnon@eqs.com::871bcc3d-b11c-46b6-b535-e388c92a0813" providerId="AD" clId="Web-{EECB2A6C-9211-A0DE-5FB5-17DD16F31FE7}" dt="2025-06-02T21:21:56.434" v="27" actId="20577"/>
          <ac:spMkLst>
            <pc:docMk/>
            <pc:sldMk cId="4018379043" sldId="437"/>
            <ac:spMk id="2" creationId="{00000000-0000-0000-0000-000000000000}"/>
          </ac:spMkLst>
        </pc:spChg>
        <pc:spChg chg="del">
          <ac:chgData name="Rachael Chagnon" userId="S::rachael.chagnon@eqs.com::871bcc3d-b11c-46b6-b535-e388c92a0813" providerId="AD" clId="Web-{EECB2A6C-9211-A0DE-5FB5-17DD16F31FE7}" dt="2025-06-02T21:22:47.685" v="41"/>
          <ac:spMkLst>
            <pc:docMk/>
            <pc:sldMk cId="4018379043" sldId="437"/>
            <ac:spMk id="3" creationId="{124477D7-664B-1880-5964-47DFED1B807F}"/>
          </ac:spMkLst>
        </pc:spChg>
        <pc:spChg chg="add del mod">
          <ac:chgData name="Rachael Chagnon" userId="S::rachael.chagnon@eqs.com::871bcc3d-b11c-46b6-b535-e388c92a0813" providerId="AD" clId="Web-{EECB2A6C-9211-A0DE-5FB5-17DD16F31FE7}" dt="2025-06-02T22:13:41.990" v="370"/>
          <ac:spMkLst>
            <pc:docMk/>
            <pc:sldMk cId="4018379043" sldId="437"/>
            <ac:spMk id="5" creationId="{FE768D68-28D1-1C69-7E2C-74263FE301BB}"/>
          </ac:spMkLst>
        </pc:spChg>
        <pc:spChg chg="mod">
          <ac:chgData name="Rachael Chagnon" userId="S::rachael.chagnon@eqs.com::871bcc3d-b11c-46b6-b535-e388c92a0813" providerId="AD" clId="Web-{EECB2A6C-9211-A0DE-5FB5-17DD16F31FE7}" dt="2025-06-02T21:22:57.733" v="42" actId="1076"/>
          <ac:spMkLst>
            <pc:docMk/>
            <pc:sldMk cId="4018379043" sldId="437"/>
            <ac:spMk id="6" creationId="{00000000-0000-0000-0000-000000000000}"/>
          </ac:spMkLst>
        </pc:spChg>
        <pc:spChg chg="add del mod">
          <ac:chgData name="Rachael Chagnon" userId="S::rachael.chagnon@eqs.com::871bcc3d-b11c-46b6-b535-e388c92a0813" providerId="AD" clId="Web-{EECB2A6C-9211-A0DE-5FB5-17DD16F31FE7}" dt="2025-06-02T21:22:00.512" v="29"/>
          <ac:spMkLst>
            <pc:docMk/>
            <pc:sldMk cId="4018379043" sldId="437"/>
            <ac:spMk id="7" creationId="{B3022AD4-C5FD-6092-454B-AEE9E72C75FD}"/>
          </ac:spMkLst>
        </pc:spChg>
        <pc:spChg chg="del">
          <ac:chgData name="Rachael Chagnon" userId="S::rachael.chagnon@eqs.com::871bcc3d-b11c-46b6-b535-e388c92a0813" providerId="AD" clId="Web-{EECB2A6C-9211-A0DE-5FB5-17DD16F31FE7}" dt="2025-06-02T21:21:58.715" v="28"/>
          <ac:spMkLst>
            <pc:docMk/>
            <pc:sldMk cId="4018379043" sldId="437"/>
            <ac:spMk id="15" creationId="{4CA40139-1365-2D72-54E6-2EA0AD8A624C}"/>
          </ac:spMkLst>
        </pc:spChg>
        <pc:picChg chg="add mod">
          <ac:chgData name="Rachael Chagnon" userId="S::rachael.chagnon@eqs.com::871bcc3d-b11c-46b6-b535-e388c92a0813" providerId="AD" clId="Web-{EECB2A6C-9211-A0DE-5FB5-17DD16F31FE7}" dt="2025-06-02T22:55:11.648" v="435" actId="1076"/>
          <ac:picMkLst>
            <pc:docMk/>
            <pc:sldMk cId="4018379043" sldId="437"/>
            <ac:picMk id="7" creationId="{FD8586F6-6F31-09BA-43A0-3F488DAED291}"/>
          </ac:picMkLst>
        </pc:picChg>
        <pc:picChg chg="add del mod">
          <ac:chgData name="Rachael Chagnon" userId="S::rachael.chagnon@eqs.com::871bcc3d-b11c-46b6-b535-e388c92a0813" providerId="AD" clId="Web-{EECB2A6C-9211-A0DE-5FB5-17DD16F31FE7}" dt="2025-06-02T22:13:41.193" v="369"/>
          <ac:picMkLst>
            <pc:docMk/>
            <pc:sldMk cId="4018379043" sldId="437"/>
            <ac:picMk id="9" creationId="{1BA50D3D-740F-C12A-8582-3B54A93195DF}"/>
          </ac:picMkLst>
        </pc:picChg>
      </pc:sldChg>
      <pc:sldChg chg="addSp delSp modSp add replId">
        <pc:chgData name="Rachael Chagnon" userId="S::rachael.chagnon@eqs.com::871bcc3d-b11c-46b6-b535-e388c92a0813" providerId="AD" clId="Web-{EECB2A6C-9211-A0DE-5FB5-17DD16F31FE7}" dt="2025-06-02T22:55:21.399" v="436" actId="1076"/>
        <pc:sldMkLst>
          <pc:docMk/>
          <pc:sldMk cId="2880353216" sldId="438"/>
        </pc:sldMkLst>
        <pc:spChg chg="mod">
          <ac:chgData name="Rachael Chagnon" userId="S::rachael.chagnon@eqs.com::871bcc3d-b11c-46b6-b535-e388c92a0813" providerId="AD" clId="Web-{EECB2A6C-9211-A0DE-5FB5-17DD16F31FE7}" dt="2025-06-02T21:24:44.861" v="102" actId="20577"/>
          <ac:spMkLst>
            <pc:docMk/>
            <pc:sldMk cId="2880353216" sldId="438"/>
            <ac:spMk id="2" creationId="{FDDD0673-2FF3-46A5-2A05-D01770C971E6}"/>
          </ac:spMkLst>
        </pc:spChg>
        <pc:spChg chg="add del mod">
          <ac:chgData name="Rachael Chagnon" userId="S::rachael.chagnon@eqs.com::871bcc3d-b11c-46b6-b535-e388c92a0813" providerId="AD" clId="Web-{EECB2A6C-9211-A0DE-5FB5-17DD16F31FE7}" dt="2025-06-02T22:14:10.428" v="376"/>
          <ac:spMkLst>
            <pc:docMk/>
            <pc:sldMk cId="2880353216" sldId="438"/>
            <ac:spMk id="3" creationId="{20C0813D-F368-FBE1-D54B-4B76374363B6}"/>
          </ac:spMkLst>
        </pc:spChg>
        <pc:spChg chg="mod">
          <ac:chgData name="Rachael Chagnon" userId="S::rachael.chagnon@eqs.com::871bcc3d-b11c-46b6-b535-e388c92a0813" providerId="AD" clId="Web-{EECB2A6C-9211-A0DE-5FB5-17DD16F31FE7}" dt="2025-06-02T21:26:16.145" v="135" actId="20577"/>
          <ac:spMkLst>
            <pc:docMk/>
            <pc:sldMk cId="2880353216" sldId="438"/>
            <ac:spMk id="6" creationId="{26E5B58C-9F68-8EB0-7317-385BAD76816F}"/>
          </ac:spMkLst>
        </pc:spChg>
        <pc:spChg chg="add del mod">
          <ac:chgData name="Rachael Chagnon" userId="S::rachael.chagnon@eqs.com::871bcc3d-b11c-46b6-b535-e388c92a0813" providerId="AD" clId="Web-{EECB2A6C-9211-A0DE-5FB5-17DD16F31FE7}" dt="2025-06-02T22:14:11.537" v="377"/>
          <ac:spMkLst>
            <pc:docMk/>
            <pc:sldMk cId="2880353216" sldId="438"/>
            <ac:spMk id="7" creationId="{9DC3FEB1-0436-54A1-2C6B-8269C1FF4721}"/>
          </ac:spMkLst>
        </pc:spChg>
        <pc:picChg chg="add del mod">
          <ac:chgData name="Rachael Chagnon" userId="S::rachael.chagnon@eqs.com::871bcc3d-b11c-46b6-b535-e388c92a0813" providerId="AD" clId="Web-{EECB2A6C-9211-A0DE-5FB5-17DD16F31FE7}" dt="2025-06-02T22:17:23.871" v="378"/>
          <ac:picMkLst>
            <pc:docMk/>
            <pc:sldMk cId="2880353216" sldId="438"/>
            <ac:picMk id="5" creationId="{BFAFED3F-88D2-C4C3-B50B-008FF9D68A77}"/>
          </ac:picMkLst>
        </pc:picChg>
        <pc:picChg chg="add mod">
          <ac:chgData name="Rachael Chagnon" userId="S::rachael.chagnon@eqs.com::871bcc3d-b11c-46b6-b535-e388c92a0813" providerId="AD" clId="Web-{EECB2A6C-9211-A0DE-5FB5-17DD16F31FE7}" dt="2025-06-02T22:55:21.399" v="436" actId="1076"/>
          <ac:picMkLst>
            <pc:docMk/>
            <pc:sldMk cId="2880353216" sldId="438"/>
            <ac:picMk id="8" creationId="{3EA5F4C3-B9C1-4A83-D74F-744933014694}"/>
          </ac:picMkLst>
        </pc:picChg>
        <pc:picChg chg="del">
          <ac:chgData name="Rachael Chagnon" userId="S::rachael.chagnon@eqs.com::871bcc3d-b11c-46b6-b535-e388c92a0813" providerId="AD" clId="Web-{EECB2A6C-9211-A0DE-5FB5-17DD16F31FE7}" dt="2025-06-02T21:26:23.021" v="136"/>
          <ac:picMkLst>
            <pc:docMk/>
            <pc:sldMk cId="2880353216" sldId="438"/>
            <ac:picMk id="9" creationId="{10092A2A-2DAC-9349-E8D9-09F967E55929}"/>
          </ac:picMkLst>
        </pc:picChg>
      </pc:sldChg>
      <pc:sldChg chg="modSp add">
        <pc:chgData name="Rachael Chagnon" userId="S::rachael.chagnon@eqs.com::871bcc3d-b11c-46b6-b535-e388c92a0813" providerId="AD" clId="Web-{EECB2A6C-9211-A0DE-5FB5-17DD16F31FE7}" dt="2025-06-02T21:28:38.635" v="154" actId="20577"/>
        <pc:sldMkLst>
          <pc:docMk/>
          <pc:sldMk cId="3954732236" sldId="439"/>
        </pc:sldMkLst>
        <pc:spChg chg="mod">
          <ac:chgData name="Rachael Chagnon" userId="S::rachael.chagnon@eqs.com::871bcc3d-b11c-46b6-b535-e388c92a0813" providerId="AD" clId="Web-{EECB2A6C-9211-A0DE-5FB5-17DD16F31FE7}" dt="2025-06-02T21:28:37.728" v="153" actId="20577"/>
          <ac:spMkLst>
            <pc:docMk/>
            <pc:sldMk cId="3954732236" sldId="439"/>
            <ac:spMk id="3" creationId="{00000000-0000-0000-0000-000000000000}"/>
          </ac:spMkLst>
        </pc:spChg>
        <pc:spChg chg="mod">
          <ac:chgData name="Rachael Chagnon" userId="S::rachael.chagnon@eqs.com::871bcc3d-b11c-46b6-b535-e388c92a0813" providerId="AD" clId="Web-{EECB2A6C-9211-A0DE-5FB5-17DD16F31FE7}" dt="2025-06-02T21:28:38.635" v="154" actId="20577"/>
          <ac:spMkLst>
            <pc:docMk/>
            <pc:sldMk cId="3954732236" sldId="439"/>
            <ac:spMk id="16" creationId="{DC9E300B-8212-1D3E-D812-4DA0049EAF51}"/>
          </ac:spMkLst>
        </pc:spChg>
      </pc:sldChg>
      <pc:sldChg chg="addSp delSp modSp add replId">
        <pc:chgData name="Rachael Chagnon" userId="S::rachael.chagnon@eqs.com::871bcc3d-b11c-46b6-b535-e388c92a0813" providerId="AD" clId="Web-{EECB2A6C-9211-A0DE-5FB5-17DD16F31FE7}" dt="2025-06-02T22:56:25.684" v="450" actId="20577"/>
        <pc:sldMkLst>
          <pc:docMk/>
          <pc:sldMk cId="1541240930" sldId="440"/>
        </pc:sldMkLst>
        <pc:spChg chg="mod">
          <ac:chgData name="Rachael Chagnon" userId="S::rachael.chagnon@eqs.com::871bcc3d-b11c-46b6-b535-e388c92a0813" providerId="AD" clId="Web-{EECB2A6C-9211-A0DE-5FB5-17DD16F31FE7}" dt="2025-06-02T21:59:18.838" v="311" actId="20577"/>
          <ac:spMkLst>
            <pc:docMk/>
            <pc:sldMk cId="1541240930" sldId="440"/>
            <ac:spMk id="2" creationId="{F10E0906-6F44-758D-496F-D8BA8841D5B4}"/>
          </ac:spMkLst>
        </pc:spChg>
        <pc:spChg chg="add del mod">
          <ac:chgData name="Rachael Chagnon" userId="S::rachael.chagnon@eqs.com::871bcc3d-b11c-46b6-b535-e388c92a0813" providerId="AD" clId="Web-{EECB2A6C-9211-A0DE-5FB5-17DD16F31FE7}" dt="2025-06-02T21:53:16.077" v="224"/>
          <ac:spMkLst>
            <pc:docMk/>
            <pc:sldMk cId="1541240930" sldId="440"/>
            <ac:spMk id="4" creationId="{D4468E85-9FE6-6BDA-EFB3-C0230D82A82F}"/>
          </ac:spMkLst>
        </pc:spChg>
        <pc:spChg chg="mod">
          <ac:chgData name="Rachael Chagnon" userId="S::rachael.chagnon@eqs.com::871bcc3d-b11c-46b6-b535-e388c92a0813" providerId="AD" clId="Web-{EECB2A6C-9211-A0DE-5FB5-17DD16F31FE7}" dt="2025-06-02T22:56:25.684" v="450" actId="20577"/>
          <ac:spMkLst>
            <pc:docMk/>
            <pc:sldMk cId="1541240930" sldId="440"/>
            <ac:spMk id="5" creationId="{C47A682A-038F-2223-5C5A-F4F584F2B715}"/>
          </ac:spMkLst>
        </pc:spChg>
        <pc:spChg chg="add del mod">
          <ac:chgData name="Rachael Chagnon" userId="S::rachael.chagnon@eqs.com::871bcc3d-b11c-46b6-b535-e388c92a0813" providerId="AD" clId="Web-{EECB2A6C-9211-A0DE-5FB5-17DD16F31FE7}" dt="2025-06-02T21:56:40.755" v="292"/>
          <ac:spMkLst>
            <pc:docMk/>
            <pc:sldMk cId="1541240930" sldId="440"/>
            <ac:spMk id="10" creationId="{92C87ACA-46B0-1C40-DF87-7B9905FA3AD6}"/>
          </ac:spMkLst>
        </pc:spChg>
        <pc:picChg chg="add mod">
          <ac:chgData name="Rachael Chagnon" userId="S::rachael.chagnon@eqs.com::871bcc3d-b11c-46b6-b535-e388c92a0813" providerId="AD" clId="Web-{EECB2A6C-9211-A0DE-5FB5-17DD16F31FE7}" dt="2025-06-02T22:55:29.634" v="437" actId="14100"/>
          <ac:picMkLst>
            <pc:docMk/>
            <pc:sldMk cId="1541240930" sldId="440"/>
            <ac:picMk id="8" creationId="{21798592-1872-B54E-C0CE-7E72D4CA5896}"/>
          </ac:picMkLst>
        </pc:picChg>
        <pc:picChg chg="del mod">
          <ac:chgData name="Rachael Chagnon" userId="S::rachael.chagnon@eqs.com::871bcc3d-b11c-46b6-b535-e388c92a0813" providerId="AD" clId="Web-{EECB2A6C-9211-A0DE-5FB5-17DD16F31FE7}" dt="2025-06-02T21:53:11.827" v="222"/>
          <ac:picMkLst>
            <pc:docMk/>
            <pc:sldMk cId="1541240930" sldId="440"/>
            <ac:picMk id="29" creationId="{76994B3D-C444-4B30-E5FF-7704144BAD3F}"/>
          </ac:picMkLst>
        </pc:picChg>
      </pc:sldChg>
      <pc:sldChg chg="add del replId">
        <pc:chgData name="Rachael Chagnon" userId="S::rachael.chagnon@eqs.com::871bcc3d-b11c-46b6-b535-e388c92a0813" providerId="AD" clId="Web-{EECB2A6C-9211-A0DE-5FB5-17DD16F31FE7}" dt="2025-06-02T21:52:28.060" v="212"/>
        <pc:sldMkLst>
          <pc:docMk/>
          <pc:sldMk cId="3082196713" sldId="440"/>
        </pc:sldMkLst>
      </pc:sldChg>
      <pc:sldChg chg="addSp delSp modSp add replId">
        <pc:chgData name="Rachael Chagnon" userId="S::rachael.chagnon@eqs.com::871bcc3d-b11c-46b6-b535-e388c92a0813" providerId="AD" clId="Web-{EECB2A6C-9211-A0DE-5FB5-17DD16F31FE7}" dt="2025-06-02T22:56:20.403" v="448" actId="20577"/>
        <pc:sldMkLst>
          <pc:docMk/>
          <pc:sldMk cId="1795470605" sldId="441"/>
        </pc:sldMkLst>
        <pc:spChg chg="mod">
          <ac:chgData name="Rachael Chagnon" userId="S::rachael.chagnon@eqs.com::871bcc3d-b11c-46b6-b535-e388c92a0813" providerId="AD" clId="Web-{EECB2A6C-9211-A0DE-5FB5-17DD16F31FE7}" dt="2025-06-02T21:59:39.589" v="314" actId="20577"/>
          <ac:spMkLst>
            <pc:docMk/>
            <pc:sldMk cId="1795470605" sldId="441"/>
            <ac:spMk id="2" creationId="{1841D167-F253-172C-F4A1-2A9D16DBD3EE}"/>
          </ac:spMkLst>
        </pc:spChg>
        <pc:spChg chg="mod">
          <ac:chgData name="Rachael Chagnon" userId="S::rachael.chagnon@eqs.com::871bcc3d-b11c-46b6-b535-e388c92a0813" providerId="AD" clId="Web-{EECB2A6C-9211-A0DE-5FB5-17DD16F31FE7}" dt="2025-06-02T22:56:20.403" v="448" actId="20577"/>
          <ac:spMkLst>
            <pc:docMk/>
            <pc:sldMk cId="1795470605" sldId="441"/>
            <ac:spMk id="5" creationId="{82E7CB40-2979-DBF8-2D70-E8CA4BD01B59}"/>
          </ac:spMkLst>
        </pc:spChg>
        <pc:picChg chg="add mod">
          <ac:chgData name="Rachael Chagnon" userId="S::rachael.chagnon@eqs.com::871bcc3d-b11c-46b6-b535-e388c92a0813" providerId="AD" clId="Web-{EECB2A6C-9211-A0DE-5FB5-17DD16F31FE7}" dt="2025-06-02T22:55:41.166" v="438" actId="14100"/>
          <ac:picMkLst>
            <pc:docMk/>
            <pc:sldMk cId="1795470605" sldId="441"/>
            <ac:picMk id="4" creationId="{A466BF67-D333-0E55-5686-204E72F13D44}"/>
          </ac:picMkLst>
        </pc:picChg>
        <pc:picChg chg="del">
          <ac:chgData name="Rachael Chagnon" userId="S::rachael.chagnon@eqs.com::871bcc3d-b11c-46b6-b535-e388c92a0813" providerId="AD" clId="Web-{EECB2A6C-9211-A0DE-5FB5-17DD16F31FE7}" dt="2025-06-02T21:58:01.570" v="305"/>
          <ac:picMkLst>
            <pc:docMk/>
            <pc:sldMk cId="1795470605" sldId="441"/>
            <ac:picMk id="8" creationId="{492FFF76-0FC7-0BE3-F2AD-1068B56C9D68}"/>
          </ac:picMkLst>
        </pc:picChg>
      </pc:sldChg>
      <pc:sldChg chg="addSp delSp modSp add replId">
        <pc:chgData name="Rachael Chagnon" userId="S::rachael.chagnon@eqs.com::871bcc3d-b11c-46b6-b535-e388c92a0813" providerId="AD" clId="Web-{EECB2A6C-9211-A0DE-5FB5-17DD16F31FE7}" dt="2025-06-02T22:56:11.277" v="446" actId="1076"/>
        <pc:sldMkLst>
          <pc:docMk/>
          <pc:sldMk cId="3765582121" sldId="442"/>
        </pc:sldMkLst>
        <pc:spChg chg="mod">
          <ac:chgData name="Rachael Chagnon" userId="S::rachael.chagnon@eqs.com::871bcc3d-b11c-46b6-b535-e388c92a0813" providerId="AD" clId="Web-{EECB2A6C-9211-A0DE-5FB5-17DD16F31FE7}" dt="2025-06-02T22:56:07.777" v="445" actId="20577"/>
          <ac:spMkLst>
            <pc:docMk/>
            <pc:sldMk cId="3765582121" sldId="442"/>
            <ac:spMk id="5" creationId="{3B65A0DF-F20B-8573-9A55-AE68D7165DEE}"/>
          </ac:spMkLst>
        </pc:spChg>
        <pc:picChg chg="del">
          <ac:chgData name="Rachael Chagnon" userId="S::rachael.chagnon@eqs.com::871bcc3d-b11c-46b6-b535-e388c92a0813" providerId="AD" clId="Web-{EECB2A6C-9211-A0DE-5FB5-17DD16F31FE7}" dt="2025-06-02T22:00:57.404" v="332"/>
          <ac:picMkLst>
            <pc:docMk/>
            <pc:sldMk cId="3765582121" sldId="442"/>
            <ac:picMk id="4" creationId="{BA4E6F0F-6673-80D9-D391-895C9487C282}"/>
          </ac:picMkLst>
        </pc:picChg>
        <pc:picChg chg="add mod">
          <ac:chgData name="Rachael Chagnon" userId="S::rachael.chagnon@eqs.com::871bcc3d-b11c-46b6-b535-e388c92a0813" providerId="AD" clId="Web-{EECB2A6C-9211-A0DE-5FB5-17DD16F31FE7}" dt="2025-06-02T22:56:11.277" v="446" actId="1076"/>
          <ac:picMkLst>
            <pc:docMk/>
            <pc:sldMk cId="3765582121" sldId="442"/>
            <ac:picMk id="6" creationId="{99329520-5A17-1D64-FF09-49023FC55910}"/>
          </ac:picMkLst>
        </pc:picChg>
      </pc:sldChg>
      <pc:sldChg chg="addSp delSp modSp add replId">
        <pc:chgData name="Rachael Chagnon" userId="S::rachael.chagnon@eqs.com::871bcc3d-b11c-46b6-b535-e388c92a0813" providerId="AD" clId="Web-{EECB2A6C-9211-A0DE-5FB5-17DD16F31FE7}" dt="2025-06-02T22:11:56.721" v="368" actId="1076"/>
        <pc:sldMkLst>
          <pc:docMk/>
          <pc:sldMk cId="233686342" sldId="443"/>
        </pc:sldMkLst>
        <pc:spChg chg="mod">
          <ac:chgData name="Rachael Chagnon" userId="S::rachael.chagnon@eqs.com::871bcc3d-b11c-46b6-b535-e388c92a0813" providerId="AD" clId="Web-{EECB2A6C-9211-A0DE-5FB5-17DD16F31FE7}" dt="2025-06-02T22:04:56.364" v="345" actId="20577"/>
          <ac:spMkLst>
            <pc:docMk/>
            <pc:sldMk cId="233686342" sldId="443"/>
            <ac:spMk id="5" creationId="{35F6F247-CEE0-1B2C-39B8-0D1CA151F55D}"/>
          </ac:spMkLst>
        </pc:spChg>
        <pc:picChg chg="add del mod">
          <ac:chgData name="Rachael Chagnon" userId="S::rachael.chagnon@eqs.com::871bcc3d-b11c-46b6-b535-e388c92a0813" providerId="AD" clId="Web-{EECB2A6C-9211-A0DE-5FB5-17DD16F31FE7}" dt="2025-06-02T22:11:53.814" v="367"/>
          <ac:picMkLst>
            <pc:docMk/>
            <pc:sldMk cId="233686342" sldId="443"/>
            <ac:picMk id="4" creationId="{E2ECE8B1-FA1C-693E-63E5-A91433E49E7D}"/>
          </ac:picMkLst>
        </pc:picChg>
        <pc:picChg chg="del">
          <ac:chgData name="Rachael Chagnon" userId="S::rachael.chagnon@eqs.com::871bcc3d-b11c-46b6-b535-e388c92a0813" providerId="AD" clId="Web-{EECB2A6C-9211-A0DE-5FB5-17DD16F31FE7}" dt="2025-06-02T22:05:01.224" v="346"/>
          <ac:picMkLst>
            <pc:docMk/>
            <pc:sldMk cId="233686342" sldId="443"/>
            <ac:picMk id="6" creationId="{64C43FB5-EA93-584E-8EE0-69F35BFA3563}"/>
          </ac:picMkLst>
        </pc:picChg>
        <pc:picChg chg="add mod">
          <ac:chgData name="Rachael Chagnon" userId="S::rachael.chagnon@eqs.com::871bcc3d-b11c-46b6-b535-e388c92a0813" providerId="AD" clId="Web-{EECB2A6C-9211-A0DE-5FB5-17DD16F31FE7}" dt="2025-06-02T22:11:56.721" v="368" actId="1076"/>
          <ac:picMkLst>
            <pc:docMk/>
            <pc:sldMk cId="233686342" sldId="443"/>
            <ac:picMk id="8" creationId="{B97FE08D-6AEB-69A8-752B-D41C50DBFF29}"/>
          </ac:picMkLst>
        </pc:picChg>
      </pc:sldChg>
      <pc:sldChg chg="delSp modSp add">
        <pc:chgData name="Rachael Chagnon" userId="S::rachael.chagnon@eqs.com::871bcc3d-b11c-46b6-b535-e388c92a0813" providerId="AD" clId="Web-{EECB2A6C-9211-A0DE-5FB5-17DD16F31FE7}" dt="2025-06-02T22:06:35.461" v="359"/>
        <pc:sldMkLst>
          <pc:docMk/>
          <pc:sldMk cId="356351022" sldId="444"/>
        </pc:sldMkLst>
        <pc:spChg chg="del">
          <ac:chgData name="Rachael Chagnon" userId="S::rachael.chagnon@eqs.com::871bcc3d-b11c-46b6-b535-e388c92a0813" providerId="AD" clId="Web-{EECB2A6C-9211-A0DE-5FB5-17DD16F31FE7}" dt="2025-06-02T22:06:35.461" v="359"/>
          <ac:spMkLst>
            <pc:docMk/>
            <pc:sldMk cId="356351022" sldId="444"/>
            <ac:spMk id="2" creationId="{1F1C1DB8-331F-C510-3A20-A129676FB9DD}"/>
          </ac:spMkLst>
        </pc:spChg>
        <pc:spChg chg="mod">
          <ac:chgData name="Rachael Chagnon" userId="S::rachael.chagnon@eqs.com::871bcc3d-b11c-46b6-b535-e388c92a0813" providerId="AD" clId="Web-{EECB2A6C-9211-A0DE-5FB5-17DD16F31FE7}" dt="2025-06-02T22:06:17.710" v="356" actId="20577"/>
          <ac:spMkLst>
            <pc:docMk/>
            <pc:sldMk cId="356351022" sldId="444"/>
            <ac:spMk id="3" creationId="{00000000-0000-0000-0000-000000000000}"/>
          </ac:spMkLst>
        </pc:spChg>
        <pc:spChg chg="mod">
          <ac:chgData name="Rachael Chagnon" userId="S::rachael.chagnon@eqs.com::871bcc3d-b11c-46b6-b535-e388c92a0813" providerId="AD" clId="Web-{EECB2A6C-9211-A0DE-5FB5-17DD16F31FE7}" dt="2025-06-02T22:06:21.273" v="357" actId="20577"/>
          <ac:spMkLst>
            <pc:docMk/>
            <pc:sldMk cId="356351022" sldId="444"/>
            <ac:spMk id="19" creationId="{5D975691-755F-A5B1-9C67-54C2B5EF581F}"/>
          </ac:spMkLst>
        </pc:spChg>
      </pc:sldChg>
      <pc:sldChg chg="addSp delSp modSp add replId">
        <pc:chgData name="Rachael Chagnon" userId="S::rachael.chagnon@eqs.com::871bcc3d-b11c-46b6-b535-e388c92a0813" providerId="AD" clId="Web-{EECB2A6C-9211-A0DE-5FB5-17DD16F31FE7}" dt="2025-06-02T22:57:00.265" v="453" actId="20577"/>
        <pc:sldMkLst>
          <pc:docMk/>
          <pc:sldMk cId="519742122" sldId="445"/>
        </pc:sldMkLst>
        <pc:spChg chg="mod">
          <ac:chgData name="Rachael Chagnon" userId="S::rachael.chagnon@eqs.com::871bcc3d-b11c-46b6-b535-e388c92a0813" providerId="AD" clId="Web-{EECB2A6C-9211-A0DE-5FB5-17DD16F31FE7}" dt="2025-06-02T22:18:14.592" v="388" actId="20577"/>
          <ac:spMkLst>
            <pc:docMk/>
            <pc:sldMk cId="519742122" sldId="445"/>
            <ac:spMk id="2" creationId="{5F1C75ED-462F-8DE2-8580-DE319AD4E21B}"/>
          </ac:spMkLst>
        </pc:spChg>
        <pc:spChg chg="mod">
          <ac:chgData name="Rachael Chagnon" userId="S::rachael.chagnon@eqs.com::871bcc3d-b11c-46b6-b535-e388c92a0813" providerId="AD" clId="Web-{EECB2A6C-9211-A0DE-5FB5-17DD16F31FE7}" dt="2025-06-02T22:57:00.265" v="453" actId="20577"/>
          <ac:spMkLst>
            <pc:docMk/>
            <pc:sldMk cId="519742122" sldId="445"/>
            <ac:spMk id="5" creationId="{29BEB714-99D7-5C4B-EEB7-7EB00EFE4107}"/>
          </ac:spMkLst>
        </pc:spChg>
        <pc:picChg chg="add mod modCrop">
          <ac:chgData name="Rachael Chagnon" userId="S::rachael.chagnon@eqs.com::871bcc3d-b11c-46b6-b535-e388c92a0813" providerId="AD" clId="Web-{EECB2A6C-9211-A0DE-5FB5-17DD16F31FE7}" dt="2025-06-02T22:54:49.537" v="433" actId="14100"/>
          <ac:picMkLst>
            <pc:docMk/>
            <pc:sldMk cId="519742122" sldId="445"/>
            <ac:picMk id="4" creationId="{C2922DD4-7642-6285-49ED-C52600A2BF83}"/>
          </ac:picMkLst>
        </pc:picChg>
        <pc:picChg chg="del">
          <ac:chgData name="Rachael Chagnon" userId="S::rachael.chagnon@eqs.com::871bcc3d-b11c-46b6-b535-e388c92a0813" providerId="AD" clId="Web-{EECB2A6C-9211-A0DE-5FB5-17DD16F31FE7}" dt="2025-06-02T22:19:05.124" v="396"/>
          <ac:picMkLst>
            <pc:docMk/>
            <pc:sldMk cId="519742122" sldId="445"/>
            <ac:picMk id="8" creationId="{7D47558F-4D4F-7956-D554-1240854FBE09}"/>
          </ac:picMkLst>
        </pc:picChg>
      </pc:sldChg>
      <pc:sldChg chg="addSp delSp modSp add replId">
        <pc:chgData name="Rachael Chagnon" userId="S::rachael.chagnon@eqs.com::871bcc3d-b11c-46b6-b535-e388c92a0813" providerId="AD" clId="Web-{EECB2A6C-9211-A0DE-5FB5-17DD16F31FE7}" dt="2025-06-02T22:57:21.016" v="454" actId="1076"/>
        <pc:sldMkLst>
          <pc:docMk/>
          <pc:sldMk cId="1919582640" sldId="446"/>
        </pc:sldMkLst>
        <pc:spChg chg="mod">
          <ac:chgData name="Rachael Chagnon" userId="S::rachael.chagnon@eqs.com::871bcc3d-b11c-46b6-b535-e388c92a0813" providerId="AD" clId="Web-{EECB2A6C-9211-A0DE-5FB5-17DD16F31FE7}" dt="2025-06-02T22:51:11.725" v="404" actId="20577"/>
          <ac:spMkLst>
            <pc:docMk/>
            <pc:sldMk cId="1919582640" sldId="446"/>
            <ac:spMk id="2" creationId="{27E1A3DF-82D7-B465-7C69-A6E4DC216492}"/>
          </ac:spMkLst>
        </pc:spChg>
        <pc:spChg chg="mod">
          <ac:chgData name="Rachael Chagnon" userId="S::rachael.chagnon@eqs.com::871bcc3d-b11c-46b6-b535-e388c92a0813" providerId="AD" clId="Web-{EECB2A6C-9211-A0DE-5FB5-17DD16F31FE7}" dt="2025-06-02T22:54:18.410" v="428" actId="14100"/>
          <ac:spMkLst>
            <pc:docMk/>
            <pc:sldMk cId="1919582640" sldId="446"/>
            <ac:spMk id="5" creationId="{838826DB-86AF-F130-8EF2-C14D5703762F}"/>
          </ac:spMkLst>
        </pc:spChg>
        <pc:picChg chg="del">
          <ac:chgData name="Rachael Chagnon" userId="S::rachael.chagnon@eqs.com::871bcc3d-b11c-46b6-b535-e388c92a0813" providerId="AD" clId="Web-{EECB2A6C-9211-A0DE-5FB5-17DD16F31FE7}" dt="2025-06-02T22:51:21.789" v="405"/>
          <ac:picMkLst>
            <pc:docMk/>
            <pc:sldMk cId="1919582640" sldId="446"/>
            <ac:picMk id="4" creationId="{9D898F42-C9F5-4147-433E-D100B6450990}"/>
          </ac:picMkLst>
        </pc:picChg>
        <pc:picChg chg="add mod">
          <ac:chgData name="Rachael Chagnon" userId="S::rachael.chagnon@eqs.com::871bcc3d-b11c-46b6-b535-e388c92a0813" providerId="AD" clId="Web-{EECB2A6C-9211-A0DE-5FB5-17DD16F31FE7}" dt="2025-06-02T22:57:21.016" v="454" actId="1076"/>
          <ac:picMkLst>
            <pc:docMk/>
            <pc:sldMk cId="1919582640" sldId="446"/>
            <ac:picMk id="6" creationId="{3213048F-AD14-3B2F-E1AC-7094BC3FCB1A}"/>
          </ac:picMkLst>
        </pc:picChg>
      </pc:sldChg>
      <pc:sldChg chg="addSp delSp modSp add replId">
        <pc:chgData name="Rachael Chagnon" userId="S::rachael.chagnon@eqs.com::871bcc3d-b11c-46b6-b535-e388c92a0813" providerId="AD" clId="Web-{EECB2A6C-9211-A0DE-5FB5-17DD16F31FE7}" dt="2025-06-02T22:59:13.071" v="479" actId="1076"/>
        <pc:sldMkLst>
          <pc:docMk/>
          <pc:sldMk cId="390907759" sldId="447"/>
        </pc:sldMkLst>
        <pc:spChg chg="mod">
          <ac:chgData name="Rachael Chagnon" userId="S::rachael.chagnon@eqs.com::871bcc3d-b11c-46b6-b535-e388c92a0813" providerId="AD" clId="Web-{EECB2A6C-9211-A0DE-5FB5-17DD16F31FE7}" dt="2025-06-02T22:57:57.363" v="459" actId="20577"/>
          <ac:spMkLst>
            <pc:docMk/>
            <pc:sldMk cId="390907759" sldId="447"/>
            <ac:spMk id="2" creationId="{0B43C8AA-4E01-8717-8C4D-AF9E70FCDD5A}"/>
          </ac:spMkLst>
        </pc:spChg>
        <pc:spChg chg="mod">
          <ac:chgData name="Rachael Chagnon" userId="S::rachael.chagnon@eqs.com::871bcc3d-b11c-46b6-b535-e388c92a0813" providerId="AD" clId="Web-{EECB2A6C-9211-A0DE-5FB5-17DD16F31FE7}" dt="2025-06-02T22:59:03.258" v="477" actId="14100"/>
          <ac:spMkLst>
            <pc:docMk/>
            <pc:sldMk cId="390907759" sldId="447"/>
            <ac:spMk id="5" creationId="{111B39F4-8DDD-B1ED-C8F7-67E5D647CBE4}"/>
          </ac:spMkLst>
        </pc:spChg>
        <pc:picChg chg="del">
          <ac:chgData name="Rachael Chagnon" userId="S::rachael.chagnon@eqs.com::871bcc3d-b11c-46b6-b535-e388c92a0813" providerId="AD" clId="Web-{EECB2A6C-9211-A0DE-5FB5-17DD16F31FE7}" dt="2025-06-02T22:58:05.051" v="460"/>
          <ac:picMkLst>
            <pc:docMk/>
            <pc:sldMk cId="390907759" sldId="447"/>
            <ac:picMk id="4" creationId="{53EE071C-DC86-B699-847E-6B6AC701F7AC}"/>
          </ac:picMkLst>
        </pc:picChg>
        <pc:picChg chg="add mod">
          <ac:chgData name="Rachael Chagnon" userId="S::rachael.chagnon@eqs.com::871bcc3d-b11c-46b6-b535-e388c92a0813" providerId="AD" clId="Web-{EECB2A6C-9211-A0DE-5FB5-17DD16F31FE7}" dt="2025-06-02T22:59:13.071" v="479" actId="1076"/>
          <ac:picMkLst>
            <pc:docMk/>
            <pc:sldMk cId="390907759" sldId="447"/>
            <ac:picMk id="6" creationId="{3B7EF0EC-2D08-D330-8FD1-7D17BCF4FA72}"/>
          </ac:picMkLst>
        </pc:picChg>
      </pc:sldChg>
      <pc:sldChg chg="delSp modSp add">
        <pc:chgData name="Rachael Chagnon" userId="S::rachael.chagnon@eqs.com::871bcc3d-b11c-46b6-b535-e388c92a0813" providerId="AD" clId="Web-{EECB2A6C-9211-A0DE-5FB5-17DD16F31FE7}" dt="2025-06-02T23:00:03.481" v="486"/>
        <pc:sldMkLst>
          <pc:docMk/>
          <pc:sldMk cId="295639421" sldId="448"/>
        </pc:sldMkLst>
        <pc:spChg chg="del">
          <ac:chgData name="Rachael Chagnon" userId="S::rachael.chagnon@eqs.com::871bcc3d-b11c-46b6-b535-e388c92a0813" providerId="AD" clId="Web-{EECB2A6C-9211-A0DE-5FB5-17DD16F31FE7}" dt="2025-06-02T23:00:03.481" v="486"/>
          <ac:spMkLst>
            <pc:docMk/>
            <pc:sldMk cId="295639421" sldId="448"/>
            <ac:spMk id="2" creationId="{1F1C1DB8-331F-C510-3A20-A129676FB9DD}"/>
          </ac:spMkLst>
        </pc:spChg>
        <pc:spChg chg="mod">
          <ac:chgData name="Rachael Chagnon" userId="S::rachael.chagnon@eqs.com::871bcc3d-b11c-46b6-b535-e388c92a0813" providerId="AD" clId="Web-{EECB2A6C-9211-A0DE-5FB5-17DD16F31FE7}" dt="2025-06-02T22:59:52.402" v="484" actId="20577"/>
          <ac:spMkLst>
            <pc:docMk/>
            <pc:sldMk cId="295639421" sldId="448"/>
            <ac:spMk id="3" creationId="{00000000-0000-0000-0000-000000000000}"/>
          </ac:spMkLst>
        </pc:spChg>
        <pc:spChg chg="mod">
          <ac:chgData name="Rachael Chagnon" userId="S::rachael.chagnon@eqs.com::871bcc3d-b11c-46b6-b535-e388c92a0813" providerId="AD" clId="Web-{EECB2A6C-9211-A0DE-5FB5-17DD16F31FE7}" dt="2025-06-02T22:59:55.668" v="485" actId="20577"/>
          <ac:spMkLst>
            <pc:docMk/>
            <pc:sldMk cId="295639421" sldId="448"/>
            <ac:spMk id="16" creationId="{C8495B02-88B1-AD4A-26A3-9AD2E829FD96}"/>
          </ac:spMkLst>
        </pc:spChg>
      </pc:sldChg>
      <pc:sldChg chg="delSp modSp add">
        <pc:chgData name="Rachael Chagnon" userId="S::rachael.chagnon@eqs.com::871bcc3d-b11c-46b6-b535-e388c92a0813" providerId="AD" clId="Web-{EECB2A6C-9211-A0DE-5FB5-17DD16F31FE7}" dt="2025-06-02T23:01:24.783" v="499"/>
        <pc:sldMkLst>
          <pc:docMk/>
          <pc:sldMk cId="4116852243" sldId="449"/>
        </pc:sldMkLst>
        <pc:spChg chg="del">
          <ac:chgData name="Rachael Chagnon" userId="S::rachael.chagnon@eqs.com::871bcc3d-b11c-46b6-b535-e388c92a0813" providerId="AD" clId="Web-{EECB2A6C-9211-A0DE-5FB5-17DD16F31FE7}" dt="2025-06-02T23:01:24.783" v="499"/>
          <ac:spMkLst>
            <pc:docMk/>
            <pc:sldMk cId="4116852243" sldId="449"/>
            <ac:spMk id="2" creationId="{1F1C1DB8-331F-C510-3A20-A129676FB9DD}"/>
          </ac:spMkLst>
        </pc:spChg>
        <pc:spChg chg="mod">
          <ac:chgData name="Rachael Chagnon" userId="S::rachael.chagnon@eqs.com::871bcc3d-b11c-46b6-b535-e388c92a0813" providerId="AD" clId="Web-{EECB2A6C-9211-A0DE-5FB5-17DD16F31FE7}" dt="2025-06-02T23:00:47.265" v="491" actId="20577"/>
          <ac:spMkLst>
            <pc:docMk/>
            <pc:sldMk cId="4116852243" sldId="449"/>
            <ac:spMk id="3" creationId="{00000000-0000-0000-0000-000000000000}"/>
          </ac:spMkLst>
        </pc:spChg>
        <pc:spChg chg="mod">
          <ac:chgData name="Rachael Chagnon" userId="S::rachael.chagnon@eqs.com::871bcc3d-b11c-46b6-b535-e388c92a0813" providerId="AD" clId="Web-{EECB2A6C-9211-A0DE-5FB5-17DD16F31FE7}" dt="2025-06-02T23:00:49.327" v="492" actId="20577"/>
          <ac:spMkLst>
            <pc:docMk/>
            <pc:sldMk cId="4116852243" sldId="449"/>
            <ac:spMk id="16" creationId="{0F93E38A-BA03-472A-46BA-4B5A7573BBA9}"/>
          </ac:spMkLst>
        </pc:spChg>
      </pc:sldChg>
      <pc:sldChg chg="delSp modSp add">
        <pc:chgData name="Rachael Chagnon" userId="S::rachael.chagnon@eqs.com::871bcc3d-b11c-46b6-b535-e388c92a0813" providerId="AD" clId="Web-{EECB2A6C-9211-A0DE-5FB5-17DD16F31FE7}" dt="2025-06-02T23:01:31.174" v="500" actId="20577"/>
        <pc:sldMkLst>
          <pc:docMk/>
          <pc:sldMk cId="2166965042" sldId="450"/>
        </pc:sldMkLst>
        <pc:spChg chg="del">
          <ac:chgData name="Rachael Chagnon" userId="S::rachael.chagnon@eqs.com::871bcc3d-b11c-46b6-b535-e388c92a0813" providerId="AD" clId="Web-{EECB2A6C-9211-A0DE-5FB5-17DD16F31FE7}" dt="2025-06-02T23:01:22.611" v="498"/>
          <ac:spMkLst>
            <pc:docMk/>
            <pc:sldMk cId="2166965042" sldId="450"/>
            <ac:spMk id="2" creationId="{1F1C1DB8-331F-C510-3A20-A129676FB9DD}"/>
          </ac:spMkLst>
        </pc:spChg>
        <pc:spChg chg="mod">
          <ac:chgData name="Rachael Chagnon" userId="S::rachael.chagnon@eqs.com::871bcc3d-b11c-46b6-b535-e388c92a0813" providerId="AD" clId="Web-{EECB2A6C-9211-A0DE-5FB5-17DD16F31FE7}" dt="2025-06-02T23:01:19.017" v="497" actId="20577"/>
          <ac:spMkLst>
            <pc:docMk/>
            <pc:sldMk cId="2166965042" sldId="450"/>
            <ac:spMk id="3" creationId="{00000000-0000-0000-0000-000000000000}"/>
          </ac:spMkLst>
        </pc:spChg>
        <pc:spChg chg="mod">
          <ac:chgData name="Rachael Chagnon" userId="S::rachael.chagnon@eqs.com::871bcc3d-b11c-46b6-b535-e388c92a0813" providerId="AD" clId="Web-{EECB2A6C-9211-A0DE-5FB5-17DD16F31FE7}" dt="2025-06-02T23:01:31.174" v="500" actId="20577"/>
          <ac:spMkLst>
            <pc:docMk/>
            <pc:sldMk cId="2166965042" sldId="450"/>
            <ac:spMk id="20" creationId="{34AA4865-0B93-4027-7CB9-C98D67F469B8}"/>
          </ac:spMkLst>
        </pc:spChg>
      </pc:sldChg>
      <pc:sldChg chg="addSp delSp modSp add replId">
        <pc:chgData name="Rachael Chagnon" userId="S::rachael.chagnon@eqs.com::871bcc3d-b11c-46b6-b535-e388c92a0813" providerId="AD" clId="Web-{EECB2A6C-9211-A0DE-5FB5-17DD16F31FE7}" dt="2025-06-02T23:02:46.226" v="518" actId="14100"/>
        <pc:sldMkLst>
          <pc:docMk/>
          <pc:sldMk cId="135662831" sldId="451"/>
        </pc:sldMkLst>
        <pc:spChg chg="mod">
          <ac:chgData name="Rachael Chagnon" userId="S::rachael.chagnon@eqs.com::871bcc3d-b11c-46b6-b535-e388c92a0813" providerId="AD" clId="Web-{EECB2A6C-9211-A0DE-5FB5-17DD16F31FE7}" dt="2025-06-02T23:02:10.067" v="505" actId="20577"/>
          <ac:spMkLst>
            <pc:docMk/>
            <pc:sldMk cId="135662831" sldId="451"/>
            <ac:spMk id="2" creationId="{E48C86E4-6822-EF6E-65B5-1EE22D9E40AF}"/>
          </ac:spMkLst>
        </pc:spChg>
        <pc:spChg chg="mod">
          <ac:chgData name="Rachael Chagnon" userId="S::rachael.chagnon@eqs.com::871bcc3d-b11c-46b6-b535-e388c92a0813" providerId="AD" clId="Web-{EECB2A6C-9211-A0DE-5FB5-17DD16F31FE7}" dt="2025-06-02T23:02:29.959" v="514" actId="20577"/>
          <ac:spMkLst>
            <pc:docMk/>
            <pc:sldMk cId="135662831" sldId="451"/>
            <ac:spMk id="5" creationId="{C818FBF5-C11A-66BD-4AB6-D88D84786D6D}"/>
          </ac:spMkLst>
        </pc:spChg>
        <pc:picChg chg="del">
          <ac:chgData name="Rachael Chagnon" userId="S::rachael.chagnon@eqs.com::871bcc3d-b11c-46b6-b535-e388c92a0813" providerId="AD" clId="Web-{EECB2A6C-9211-A0DE-5FB5-17DD16F31FE7}" dt="2025-06-02T23:02:37.663" v="515"/>
          <ac:picMkLst>
            <pc:docMk/>
            <pc:sldMk cId="135662831" sldId="451"/>
            <ac:picMk id="4" creationId="{7475C5D8-D5BF-7115-787C-12E6F18C37C9}"/>
          </ac:picMkLst>
        </pc:picChg>
        <pc:picChg chg="add mod">
          <ac:chgData name="Rachael Chagnon" userId="S::rachael.chagnon@eqs.com::871bcc3d-b11c-46b6-b535-e388c92a0813" providerId="AD" clId="Web-{EECB2A6C-9211-A0DE-5FB5-17DD16F31FE7}" dt="2025-06-02T23:02:46.226" v="518" actId="14100"/>
          <ac:picMkLst>
            <pc:docMk/>
            <pc:sldMk cId="135662831" sldId="451"/>
            <ac:picMk id="6" creationId="{B7C64997-6F26-2C00-2992-5359DEFDC1CA}"/>
          </ac:picMkLst>
        </pc:picChg>
      </pc:sldChg>
      <pc:sldChg chg="addSp delSp modSp add replId">
        <pc:chgData name="Rachael Chagnon" userId="S::rachael.chagnon@eqs.com::871bcc3d-b11c-46b6-b535-e388c92a0813" providerId="AD" clId="Web-{EECB2A6C-9211-A0DE-5FB5-17DD16F31FE7}" dt="2025-06-02T23:13:58.038" v="583" actId="1076"/>
        <pc:sldMkLst>
          <pc:docMk/>
          <pc:sldMk cId="2801805947" sldId="452"/>
        </pc:sldMkLst>
        <pc:spChg chg="mod">
          <ac:chgData name="Rachael Chagnon" userId="S::rachael.chagnon@eqs.com::871bcc3d-b11c-46b6-b535-e388c92a0813" providerId="AD" clId="Web-{EECB2A6C-9211-A0DE-5FB5-17DD16F31FE7}" dt="2025-06-02T23:12:04.905" v="542" actId="20577"/>
          <ac:spMkLst>
            <pc:docMk/>
            <pc:sldMk cId="2801805947" sldId="452"/>
            <ac:spMk id="2" creationId="{E88F925A-6872-90CE-3305-C1B50F1746A5}"/>
          </ac:spMkLst>
        </pc:spChg>
        <pc:spChg chg="mod">
          <ac:chgData name="Rachael Chagnon" userId="S::rachael.chagnon@eqs.com::871bcc3d-b11c-46b6-b535-e388c92a0813" providerId="AD" clId="Web-{EECB2A6C-9211-A0DE-5FB5-17DD16F31FE7}" dt="2025-06-02T23:13:19.113" v="578" actId="20577"/>
          <ac:spMkLst>
            <pc:docMk/>
            <pc:sldMk cId="2801805947" sldId="452"/>
            <ac:spMk id="5" creationId="{9A6BC078-CF73-18B0-A7CB-6DE5825F1A6E}"/>
          </ac:spMkLst>
        </pc:spChg>
        <pc:picChg chg="del">
          <ac:chgData name="Rachael Chagnon" userId="S::rachael.chagnon@eqs.com::871bcc3d-b11c-46b6-b535-e388c92a0813" providerId="AD" clId="Web-{EECB2A6C-9211-A0DE-5FB5-17DD16F31FE7}" dt="2025-06-02T23:13:35.474" v="579"/>
          <ac:picMkLst>
            <pc:docMk/>
            <pc:sldMk cId="2801805947" sldId="452"/>
            <ac:picMk id="4" creationId="{E42998C9-35B5-3DC3-8642-0797BFAF4B97}"/>
          </ac:picMkLst>
        </pc:picChg>
        <pc:picChg chg="add mod">
          <ac:chgData name="Rachael Chagnon" userId="S::rachael.chagnon@eqs.com::871bcc3d-b11c-46b6-b535-e388c92a0813" providerId="AD" clId="Web-{EECB2A6C-9211-A0DE-5FB5-17DD16F31FE7}" dt="2025-06-02T23:13:58.038" v="583" actId="1076"/>
          <ac:picMkLst>
            <pc:docMk/>
            <pc:sldMk cId="2801805947" sldId="452"/>
            <ac:picMk id="6" creationId="{16F38ED8-5262-3678-7907-E33C82D9490F}"/>
          </ac:picMkLst>
        </pc:picChg>
      </pc:sldChg>
      <pc:sldChg chg="modSp add del replId">
        <pc:chgData name="Rachael Chagnon" userId="S::rachael.chagnon@eqs.com::871bcc3d-b11c-46b6-b535-e388c92a0813" providerId="AD" clId="Web-{EECB2A6C-9211-A0DE-5FB5-17DD16F31FE7}" dt="2025-06-02T23:11:45.857" v="539"/>
        <pc:sldMkLst>
          <pc:docMk/>
          <pc:sldMk cId="2923296824" sldId="452"/>
        </pc:sldMkLst>
        <pc:spChg chg="mod">
          <ac:chgData name="Rachael Chagnon" userId="S::rachael.chagnon@eqs.com::871bcc3d-b11c-46b6-b535-e388c92a0813" providerId="AD" clId="Web-{EECB2A6C-9211-A0DE-5FB5-17DD16F31FE7}" dt="2025-06-02T23:09:12.909" v="525" actId="20577"/>
          <ac:spMkLst>
            <pc:docMk/>
            <pc:sldMk cId="2923296824" sldId="452"/>
            <ac:spMk id="2" creationId="{1D64BB5A-3768-0D38-A99D-1B449DC70EFD}"/>
          </ac:spMkLst>
        </pc:spChg>
        <pc:spChg chg="mod">
          <ac:chgData name="Rachael Chagnon" userId="S::rachael.chagnon@eqs.com::871bcc3d-b11c-46b6-b535-e388c92a0813" providerId="AD" clId="Web-{EECB2A6C-9211-A0DE-5FB5-17DD16F31FE7}" dt="2025-06-02T23:11:37.497" v="538" actId="20577"/>
          <ac:spMkLst>
            <pc:docMk/>
            <pc:sldMk cId="2923296824" sldId="452"/>
            <ac:spMk id="5" creationId="{927F5076-768A-0AD5-F237-16DE0CE84EFA}"/>
          </ac:spMkLst>
        </pc:spChg>
      </pc:sldChg>
      <pc:sldChg chg="addSp delSp modSp add replId">
        <pc:chgData name="Rachael Chagnon" userId="S::rachael.chagnon@eqs.com::871bcc3d-b11c-46b6-b535-e388c92a0813" providerId="AD" clId="Web-{EECB2A6C-9211-A0DE-5FB5-17DD16F31FE7}" dt="2025-06-02T23:18:59.902" v="604" actId="20577"/>
        <pc:sldMkLst>
          <pc:docMk/>
          <pc:sldMk cId="440620725" sldId="453"/>
        </pc:sldMkLst>
        <pc:spChg chg="mod">
          <ac:chgData name="Rachael Chagnon" userId="S::rachael.chagnon@eqs.com::871bcc3d-b11c-46b6-b535-e388c92a0813" providerId="AD" clId="Web-{EECB2A6C-9211-A0DE-5FB5-17DD16F31FE7}" dt="2025-06-02T23:18:59.902" v="604" actId="20577"/>
          <ac:spMkLst>
            <pc:docMk/>
            <pc:sldMk cId="440620725" sldId="453"/>
            <ac:spMk id="5" creationId="{A6AED4F8-1B41-CA3E-B56B-C880CB3F3CA7}"/>
          </ac:spMkLst>
        </pc:spChg>
        <pc:picChg chg="add mod">
          <ac:chgData name="Rachael Chagnon" userId="S::rachael.chagnon@eqs.com::871bcc3d-b11c-46b6-b535-e388c92a0813" providerId="AD" clId="Web-{EECB2A6C-9211-A0DE-5FB5-17DD16F31FE7}" dt="2025-06-02T23:18:51.667" v="602" actId="1076"/>
          <ac:picMkLst>
            <pc:docMk/>
            <pc:sldMk cId="440620725" sldId="453"/>
            <ac:picMk id="4" creationId="{8C5AE097-3E72-7DD8-D321-867B444F56CE}"/>
          </ac:picMkLst>
        </pc:picChg>
        <pc:picChg chg="del">
          <ac:chgData name="Rachael Chagnon" userId="S::rachael.chagnon@eqs.com::871bcc3d-b11c-46b6-b535-e388c92a0813" providerId="AD" clId="Web-{EECB2A6C-9211-A0DE-5FB5-17DD16F31FE7}" dt="2025-06-02T23:17:43.163" v="587"/>
          <ac:picMkLst>
            <pc:docMk/>
            <pc:sldMk cId="440620725" sldId="453"/>
            <ac:picMk id="6" creationId="{BBFA8A20-3CF8-AAA7-33CA-245A79375CAB}"/>
          </ac:picMkLst>
        </pc:picChg>
        <pc:picChg chg="add mod">
          <ac:chgData name="Rachael Chagnon" userId="S::rachael.chagnon@eqs.com::871bcc3d-b11c-46b6-b535-e388c92a0813" providerId="AD" clId="Web-{EECB2A6C-9211-A0DE-5FB5-17DD16F31FE7}" dt="2025-06-02T23:17:59.554" v="592" actId="14100"/>
          <ac:picMkLst>
            <pc:docMk/>
            <pc:sldMk cId="440620725" sldId="453"/>
            <ac:picMk id="9" creationId="{7850B216-31EB-474F-55B8-82D8E4676DC1}"/>
          </ac:picMkLst>
        </pc:picChg>
      </pc:sldChg>
      <pc:sldChg chg="addSp delSp modSp add replId">
        <pc:chgData name="Rachael Chagnon" userId="S::rachael.chagnon@eqs.com::871bcc3d-b11c-46b6-b535-e388c92a0813" providerId="AD" clId="Web-{EECB2A6C-9211-A0DE-5FB5-17DD16F31FE7}" dt="2025-06-02T23:21:43.367" v="630" actId="1076"/>
        <pc:sldMkLst>
          <pc:docMk/>
          <pc:sldMk cId="3068486551" sldId="454"/>
        </pc:sldMkLst>
        <pc:spChg chg="mod">
          <ac:chgData name="Rachael Chagnon" userId="S::rachael.chagnon@eqs.com::871bcc3d-b11c-46b6-b535-e388c92a0813" providerId="AD" clId="Web-{EECB2A6C-9211-A0DE-5FB5-17DD16F31FE7}" dt="2025-06-02T23:19:53.781" v="608" actId="20577"/>
          <ac:spMkLst>
            <pc:docMk/>
            <pc:sldMk cId="3068486551" sldId="454"/>
            <ac:spMk id="2" creationId="{2793A30C-5DCD-F8C4-4FB3-F74988939483}"/>
          </ac:spMkLst>
        </pc:spChg>
        <pc:spChg chg="mod">
          <ac:chgData name="Rachael Chagnon" userId="S::rachael.chagnon@eqs.com::871bcc3d-b11c-46b6-b535-e388c92a0813" providerId="AD" clId="Web-{EECB2A6C-9211-A0DE-5FB5-17DD16F31FE7}" dt="2025-06-02T23:21:28.803" v="626" actId="20577"/>
          <ac:spMkLst>
            <pc:docMk/>
            <pc:sldMk cId="3068486551" sldId="454"/>
            <ac:spMk id="6" creationId="{5F274D8C-D2FB-1F2A-1C9D-BA61FFB513E7}"/>
          </ac:spMkLst>
        </pc:spChg>
        <pc:picChg chg="add mod">
          <ac:chgData name="Rachael Chagnon" userId="S::rachael.chagnon@eqs.com::871bcc3d-b11c-46b6-b535-e388c92a0813" providerId="AD" clId="Web-{EECB2A6C-9211-A0DE-5FB5-17DD16F31FE7}" dt="2025-06-02T23:21:40.163" v="629" actId="1076"/>
          <ac:picMkLst>
            <pc:docMk/>
            <pc:sldMk cId="3068486551" sldId="454"/>
            <ac:picMk id="5" creationId="{8F63CD36-DE8C-2169-E8F8-75FC0C91A0D4}"/>
          </ac:picMkLst>
        </pc:picChg>
        <pc:picChg chg="del">
          <ac:chgData name="Rachael Chagnon" userId="S::rachael.chagnon@eqs.com::871bcc3d-b11c-46b6-b535-e388c92a0813" providerId="AD" clId="Web-{EECB2A6C-9211-A0DE-5FB5-17DD16F31FE7}" dt="2025-06-02T23:19:58.438" v="609"/>
          <ac:picMkLst>
            <pc:docMk/>
            <pc:sldMk cId="3068486551" sldId="454"/>
            <ac:picMk id="7" creationId="{11557218-4DFE-09F6-3BA8-1905E01B2903}"/>
          </ac:picMkLst>
        </pc:picChg>
        <pc:picChg chg="add mod modCrop">
          <ac:chgData name="Rachael Chagnon" userId="S::rachael.chagnon@eqs.com::871bcc3d-b11c-46b6-b535-e388c92a0813" providerId="AD" clId="Web-{EECB2A6C-9211-A0DE-5FB5-17DD16F31FE7}" dt="2025-06-02T23:21:43.367" v="630" actId="1076"/>
          <ac:picMkLst>
            <pc:docMk/>
            <pc:sldMk cId="3068486551" sldId="454"/>
            <ac:picMk id="9" creationId="{E958E30F-F652-267F-3DC2-E2E3B529FF46}"/>
          </ac:picMkLst>
        </pc:picChg>
      </pc:sldChg>
      <pc:sldChg chg="addSp delSp modSp add replId">
        <pc:chgData name="Rachael Chagnon" userId="S::rachael.chagnon@eqs.com::871bcc3d-b11c-46b6-b535-e388c92a0813" providerId="AD" clId="Web-{EECB2A6C-9211-A0DE-5FB5-17DD16F31FE7}" dt="2025-06-03T04:40:33.568" v="676" actId="1076"/>
        <pc:sldMkLst>
          <pc:docMk/>
          <pc:sldMk cId="1631520439" sldId="455"/>
        </pc:sldMkLst>
        <pc:spChg chg="mod">
          <ac:chgData name="Rachael Chagnon" userId="S::rachael.chagnon@eqs.com::871bcc3d-b11c-46b6-b535-e388c92a0813" providerId="AD" clId="Web-{EECB2A6C-9211-A0DE-5FB5-17DD16F31FE7}" dt="2025-06-03T04:37:43.297" v="635" actId="20577"/>
          <ac:spMkLst>
            <pc:docMk/>
            <pc:sldMk cId="1631520439" sldId="455"/>
            <ac:spMk id="2" creationId="{3126A77D-A9EA-E081-6288-B769D9A992FF}"/>
          </ac:spMkLst>
        </pc:spChg>
        <pc:spChg chg="mod">
          <ac:chgData name="Rachael Chagnon" userId="S::rachael.chagnon@eqs.com::871bcc3d-b11c-46b6-b535-e388c92a0813" providerId="AD" clId="Web-{EECB2A6C-9211-A0DE-5FB5-17DD16F31FE7}" dt="2025-06-03T04:40:25.614" v="674" actId="20577"/>
          <ac:spMkLst>
            <pc:docMk/>
            <pc:sldMk cId="1631520439" sldId="455"/>
            <ac:spMk id="6" creationId="{E73BB4F0-5A3B-A100-FA64-90427D1CD59E}"/>
          </ac:spMkLst>
        </pc:spChg>
        <pc:picChg chg="del">
          <ac:chgData name="Rachael Chagnon" userId="S::rachael.chagnon@eqs.com::871bcc3d-b11c-46b6-b535-e388c92a0813" providerId="AD" clId="Web-{EECB2A6C-9211-A0DE-5FB5-17DD16F31FE7}" dt="2025-06-03T04:37:45.703" v="636"/>
          <ac:picMkLst>
            <pc:docMk/>
            <pc:sldMk cId="1631520439" sldId="455"/>
            <ac:picMk id="5" creationId="{8B2EF633-05AA-1BC5-573D-14289D816879}"/>
          </ac:picMkLst>
        </pc:picChg>
        <pc:picChg chg="add mod">
          <ac:chgData name="Rachael Chagnon" userId="S::rachael.chagnon@eqs.com::871bcc3d-b11c-46b6-b535-e388c92a0813" providerId="AD" clId="Web-{EECB2A6C-9211-A0DE-5FB5-17DD16F31FE7}" dt="2025-06-03T04:40:33.568" v="676" actId="1076"/>
          <ac:picMkLst>
            <pc:docMk/>
            <pc:sldMk cId="1631520439" sldId="455"/>
            <ac:picMk id="7" creationId="{357055A6-B43F-7272-5DB3-9665F463E594}"/>
          </ac:picMkLst>
        </pc:picChg>
        <pc:picChg chg="del">
          <ac:chgData name="Rachael Chagnon" userId="S::rachael.chagnon@eqs.com::871bcc3d-b11c-46b6-b535-e388c92a0813" providerId="AD" clId="Web-{EECB2A6C-9211-A0DE-5FB5-17DD16F31FE7}" dt="2025-06-03T04:37:46.203" v="637"/>
          <ac:picMkLst>
            <pc:docMk/>
            <pc:sldMk cId="1631520439" sldId="455"/>
            <ac:picMk id="9" creationId="{EAC7AA8F-3F48-6704-7676-882A73AD5E65}"/>
          </ac:picMkLst>
        </pc:picChg>
      </pc:sldChg>
    </pc:docChg>
  </pc:docChgLst>
  <pc:docChgLst>
    <pc:chgData name="Phil Mauracher" userId="44bd136f-269c-43de-b90b-c39a626339c6" providerId="ADAL" clId="{969FDBDB-FE0D-7548-B002-2C9DC1962CB7}"/>
    <pc:docChg chg="undo redo custSel addSld delSld modSld sldOrd">
      <pc:chgData name="Phil Mauracher" userId="44bd136f-269c-43de-b90b-c39a626339c6" providerId="ADAL" clId="{969FDBDB-FE0D-7548-B002-2C9DC1962CB7}" dt="2025-05-28T21:33:45.887" v="4746" actId="20577"/>
      <pc:docMkLst>
        <pc:docMk/>
      </pc:docMkLst>
      <pc:sldChg chg="modSp mod">
        <pc:chgData name="Phil Mauracher" userId="44bd136f-269c-43de-b90b-c39a626339c6" providerId="ADAL" clId="{969FDBDB-FE0D-7548-B002-2C9DC1962CB7}" dt="2025-05-28T21:16:46.441" v="3066" actId="20577"/>
        <pc:sldMkLst>
          <pc:docMk/>
          <pc:sldMk cId="1832310471" sldId="265"/>
        </pc:sldMkLst>
        <pc:spChg chg="mod">
          <ac:chgData name="Phil Mauracher" userId="44bd136f-269c-43de-b90b-c39a626339c6" providerId="ADAL" clId="{969FDBDB-FE0D-7548-B002-2C9DC1962CB7}" dt="2025-05-28T21:16:46.441" v="3066" actId="20577"/>
          <ac:spMkLst>
            <pc:docMk/>
            <pc:sldMk cId="1832310471" sldId="265"/>
            <ac:spMk id="3" creationId="{00000000-0000-0000-0000-000000000000}"/>
          </ac:spMkLst>
        </pc:spChg>
        <pc:picChg chg="mod">
          <ac:chgData name="Phil Mauracher" userId="44bd136f-269c-43de-b90b-c39a626339c6" providerId="ADAL" clId="{969FDBDB-FE0D-7548-B002-2C9DC1962CB7}" dt="2025-05-28T21:16:12.311" v="2942" actId="1076"/>
          <ac:picMkLst>
            <pc:docMk/>
            <pc:sldMk cId="1832310471" sldId="265"/>
            <ac:picMk id="10" creationId="{A0C411E3-A15E-1B67-5B9E-7B5D2144371C}"/>
          </ac:picMkLst>
        </pc:picChg>
      </pc:sldChg>
      <pc:sldChg chg="addSp delSp modSp add del mod">
        <pc:chgData name="Phil Mauracher" userId="44bd136f-269c-43de-b90b-c39a626339c6" providerId="ADAL" clId="{969FDBDB-FE0D-7548-B002-2C9DC1962CB7}" dt="2025-05-28T14:29:47.791" v="2005" actId="2696"/>
        <pc:sldMkLst>
          <pc:docMk/>
          <pc:sldMk cId="2087503569" sldId="275"/>
        </pc:sldMkLst>
        <pc:spChg chg="mod">
          <ac:chgData name="Phil Mauracher" userId="44bd136f-269c-43de-b90b-c39a626339c6" providerId="ADAL" clId="{969FDBDB-FE0D-7548-B002-2C9DC1962CB7}" dt="2025-05-28T13:39:56.953" v="523" actId="20577"/>
          <ac:spMkLst>
            <pc:docMk/>
            <pc:sldMk cId="2087503569" sldId="275"/>
            <ac:spMk id="2" creationId="{00000000-0000-0000-0000-000000000000}"/>
          </ac:spMkLst>
        </pc:spChg>
        <pc:spChg chg="add del">
          <ac:chgData name="Phil Mauracher" userId="44bd136f-269c-43de-b90b-c39a626339c6" providerId="ADAL" clId="{969FDBDB-FE0D-7548-B002-2C9DC1962CB7}" dt="2025-05-28T13:56:10.168" v="923" actId="21"/>
          <ac:spMkLst>
            <pc:docMk/>
            <pc:sldMk cId="2087503569" sldId="275"/>
            <ac:spMk id="4" creationId="{42EB5477-01C4-0B5C-5443-09AD49772F23}"/>
          </ac:spMkLst>
        </pc:spChg>
        <pc:spChg chg="mod">
          <ac:chgData name="Phil Mauracher" userId="44bd136f-269c-43de-b90b-c39a626339c6" providerId="ADAL" clId="{969FDBDB-FE0D-7548-B002-2C9DC1962CB7}" dt="2025-05-28T13:58:08.013" v="1083" actId="20577"/>
          <ac:spMkLst>
            <pc:docMk/>
            <pc:sldMk cId="2087503569" sldId="275"/>
            <ac:spMk id="5" creationId="{00000000-0000-0000-0000-000000000000}"/>
          </ac:spMkLst>
        </pc:spChg>
      </pc:sldChg>
      <pc:sldChg chg="modSp mod">
        <pc:chgData name="Phil Mauracher" userId="44bd136f-269c-43de-b90b-c39a626339c6" providerId="ADAL" clId="{969FDBDB-FE0D-7548-B002-2C9DC1962CB7}" dt="2025-05-28T13:36:44.697" v="498" actId="20577"/>
        <pc:sldMkLst>
          <pc:docMk/>
          <pc:sldMk cId="2006081962" sldId="276"/>
        </pc:sldMkLst>
        <pc:spChg chg="mod">
          <ac:chgData name="Phil Mauracher" userId="44bd136f-269c-43de-b90b-c39a626339c6" providerId="ADAL" clId="{969FDBDB-FE0D-7548-B002-2C9DC1962CB7}" dt="2025-05-28T13:36:44.697" v="498" actId="20577"/>
          <ac:spMkLst>
            <pc:docMk/>
            <pc:sldMk cId="2006081962" sldId="276"/>
            <ac:spMk id="5" creationId="{00000000-0000-0000-0000-000000000000}"/>
          </ac:spMkLst>
        </pc:spChg>
      </pc:sldChg>
      <pc:sldChg chg="addSp delSp modSp mod modCm">
        <pc:chgData name="Phil Mauracher" userId="44bd136f-269c-43de-b90b-c39a626339c6" providerId="ADAL" clId="{969FDBDB-FE0D-7548-B002-2C9DC1962CB7}" dt="2025-05-28T14:43:58.949" v="2350" actId="27636"/>
        <pc:sldMkLst>
          <pc:docMk/>
          <pc:sldMk cId="1778359718" sldId="278"/>
        </pc:sldMkLst>
        <pc:spChg chg="mod">
          <ac:chgData name="Phil Mauracher" userId="44bd136f-269c-43de-b90b-c39a626339c6" providerId="ADAL" clId="{969FDBDB-FE0D-7548-B002-2C9DC1962CB7}" dt="2025-05-28T14:20:57.987" v="1734" actId="27636"/>
          <ac:spMkLst>
            <pc:docMk/>
            <pc:sldMk cId="1778359718" sldId="278"/>
            <ac:spMk id="2" creationId="{00000000-0000-0000-0000-000000000000}"/>
          </ac:spMkLst>
        </pc:spChg>
        <pc:spChg chg="add del">
          <ac:chgData name="Phil Mauracher" userId="44bd136f-269c-43de-b90b-c39a626339c6" providerId="ADAL" clId="{969FDBDB-FE0D-7548-B002-2C9DC1962CB7}" dt="2025-05-28T14:21:58.155" v="1736" actId="22"/>
          <ac:spMkLst>
            <pc:docMk/>
            <pc:sldMk cId="1778359718" sldId="278"/>
            <ac:spMk id="4" creationId="{D0267B45-FEB7-8547-FCBB-F988A21C7AC5}"/>
          </ac:spMkLst>
        </pc:spChg>
        <pc:spChg chg="add del">
          <ac:chgData name="Phil Mauracher" userId="44bd136f-269c-43de-b90b-c39a626339c6" providerId="ADAL" clId="{969FDBDB-FE0D-7548-B002-2C9DC1962CB7}" dt="2025-05-28T14:22:14.769" v="1738" actId="22"/>
          <ac:spMkLst>
            <pc:docMk/>
            <pc:sldMk cId="1778359718" sldId="278"/>
            <ac:spMk id="7" creationId="{2070E27C-062B-A31E-D1C1-08F4510122B5}"/>
          </ac:spMkLst>
        </pc:spChg>
        <pc:spChg chg="add del">
          <ac:chgData name="Phil Mauracher" userId="44bd136f-269c-43de-b90b-c39a626339c6" providerId="ADAL" clId="{969FDBDB-FE0D-7548-B002-2C9DC1962CB7}" dt="2025-05-28T14:22:23.419" v="1740" actId="22"/>
          <ac:spMkLst>
            <pc:docMk/>
            <pc:sldMk cId="1778359718" sldId="278"/>
            <ac:spMk id="9" creationId="{AF479235-24AA-9FFC-7036-1D1114867955}"/>
          </ac:spMkLst>
        </pc:spChg>
        <pc:spChg chg="mod">
          <ac:chgData name="Phil Mauracher" userId="44bd136f-269c-43de-b90b-c39a626339c6" providerId="ADAL" clId="{969FDBDB-FE0D-7548-B002-2C9DC1962CB7}" dt="2025-05-28T14:43:58.949" v="2350" actId="27636"/>
          <ac:spMkLst>
            <pc:docMk/>
            <pc:sldMk cId="1778359718" sldId="278"/>
            <ac:spMk id="12" creationId="{00000000-0000-0000-0000-000000000000}"/>
          </ac:spMkLst>
        </pc:spChg>
        <pc:extLst>
          <p:ext xmlns:p="http://schemas.openxmlformats.org/presentationml/2006/main" uri="{D6D511B9-2390-475A-947B-AFAB55BFBCF1}">
            <pc226:cmChg xmlns:pc226="http://schemas.microsoft.com/office/powerpoint/2022/06/main/command" chg="mod">
              <pc226:chgData name="Phil Mauracher" userId="44bd136f-269c-43de-b90b-c39a626339c6" providerId="ADAL" clId="{969FDBDB-FE0D-7548-B002-2C9DC1962CB7}" dt="2025-05-28T14:20:57.965" v="1733" actId="21"/>
              <pc2:cmMkLst xmlns:pc2="http://schemas.microsoft.com/office/powerpoint/2019/9/main/command">
                <pc:docMk/>
                <pc:sldMk cId="1778359718" sldId="278"/>
                <pc2:cmMk id="{18B7132F-F9D6-475F-8E3A-1438C0EEE7A8}"/>
              </pc2:cmMkLst>
            </pc226:cmChg>
          </p:ext>
        </pc:extLst>
      </pc:sldChg>
      <pc:sldChg chg="addSp delSp modSp mod">
        <pc:chgData name="Phil Mauracher" userId="44bd136f-269c-43de-b90b-c39a626339c6" providerId="ADAL" clId="{969FDBDB-FE0D-7548-B002-2C9DC1962CB7}" dt="2025-05-28T14:14:53.868" v="1493" actId="20577"/>
        <pc:sldMkLst>
          <pc:docMk/>
          <pc:sldMk cId="3585255188" sldId="328"/>
        </pc:sldMkLst>
        <pc:spChg chg="mod">
          <ac:chgData name="Phil Mauracher" userId="44bd136f-269c-43de-b90b-c39a626339c6" providerId="ADAL" clId="{969FDBDB-FE0D-7548-B002-2C9DC1962CB7}" dt="2025-05-28T14:14:53.868" v="1493" actId="20577"/>
          <ac:spMkLst>
            <pc:docMk/>
            <pc:sldMk cId="3585255188" sldId="328"/>
            <ac:spMk id="2" creationId="{00000000-0000-0000-0000-000000000000}"/>
          </ac:spMkLst>
        </pc:spChg>
        <pc:spChg chg="add del mod">
          <ac:chgData name="Phil Mauracher" userId="44bd136f-269c-43de-b90b-c39a626339c6" providerId="ADAL" clId="{969FDBDB-FE0D-7548-B002-2C9DC1962CB7}" dt="2025-05-28T14:06:29.811" v="1091" actId="478"/>
          <ac:spMkLst>
            <pc:docMk/>
            <pc:sldMk cId="3585255188" sldId="328"/>
            <ac:spMk id="4" creationId="{66344501-1444-CC47-4AC9-F5FF7CE08524}"/>
          </ac:spMkLst>
        </pc:spChg>
        <pc:picChg chg="add mod">
          <ac:chgData name="Phil Mauracher" userId="44bd136f-269c-43de-b90b-c39a626339c6" providerId="ADAL" clId="{969FDBDB-FE0D-7548-B002-2C9DC1962CB7}" dt="2025-05-28T14:06:26.579" v="1090" actId="931"/>
          <ac:picMkLst>
            <pc:docMk/>
            <pc:sldMk cId="3585255188" sldId="328"/>
            <ac:picMk id="7" creationId="{C58D72C9-F853-DBAA-7A60-743DAF87906B}"/>
          </ac:picMkLst>
        </pc:picChg>
        <pc:picChg chg="add mod">
          <ac:chgData name="Phil Mauracher" userId="44bd136f-269c-43de-b90b-c39a626339c6" providerId="ADAL" clId="{969FDBDB-FE0D-7548-B002-2C9DC1962CB7}" dt="2025-05-28T14:14:35.574" v="1476" actId="1076"/>
          <ac:picMkLst>
            <pc:docMk/>
            <pc:sldMk cId="3585255188" sldId="328"/>
            <ac:picMk id="9" creationId="{0AAA6891-E847-D531-FB84-F8E2B9A9DA8D}"/>
          </ac:picMkLst>
        </pc:picChg>
        <pc:picChg chg="del">
          <ac:chgData name="Phil Mauracher" userId="44bd136f-269c-43de-b90b-c39a626339c6" providerId="ADAL" clId="{969FDBDB-FE0D-7548-B002-2C9DC1962CB7}" dt="2025-05-28T13:29:10.882" v="91" actId="478"/>
          <ac:picMkLst>
            <pc:docMk/>
            <pc:sldMk cId="3585255188" sldId="328"/>
            <ac:picMk id="14" creationId="{DC99B9B2-FFF5-018B-CB35-E872E5929816}"/>
          </ac:picMkLst>
        </pc:picChg>
      </pc:sldChg>
      <pc:sldChg chg="addSp modSp mod ord">
        <pc:chgData name="Phil Mauracher" userId="44bd136f-269c-43de-b90b-c39a626339c6" providerId="ADAL" clId="{969FDBDB-FE0D-7548-B002-2C9DC1962CB7}" dt="2025-05-28T14:07:29.201" v="1129" actId="20578"/>
        <pc:sldMkLst>
          <pc:docMk/>
          <pc:sldMk cId="2489747919" sldId="335"/>
        </pc:sldMkLst>
        <pc:spChg chg="add mod">
          <ac:chgData name="Phil Mauracher" userId="44bd136f-269c-43de-b90b-c39a626339c6" providerId="ADAL" clId="{969FDBDB-FE0D-7548-B002-2C9DC1962CB7}" dt="2025-05-28T13:28:19.465" v="90" actId="113"/>
          <ac:spMkLst>
            <pc:docMk/>
            <pc:sldMk cId="2489747919" sldId="335"/>
            <ac:spMk id="3" creationId="{AE1E2D1F-149F-2CA7-78FE-2BFC8C474763}"/>
          </ac:spMkLst>
        </pc:spChg>
      </pc:sldChg>
      <pc:sldChg chg="add del">
        <pc:chgData name="Phil Mauracher" userId="44bd136f-269c-43de-b90b-c39a626339c6" providerId="ADAL" clId="{969FDBDB-FE0D-7548-B002-2C9DC1962CB7}" dt="2025-05-28T13:39:17.143" v="514"/>
        <pc:sldMkLst>
          <pc:docMk/>
          <pc:sldMk cId="2668252130" sldId="336"/>
        </pc:sldMkLst>
      </pc:sldChg>
      <pc:sldChg chg="modSp mod">
        <pc:chgData name="Phil Mauracher" userId="44bd136f-269c-43de-b90b-c39a626339c6" providerId="ADAL" clId="{969FDBDB-FE0D-7548-B002-2C9DC1962CB7}" dt="2025-05-28T14:07:42.775" v="1167" actId="20577"/>
        <pc:sldMkLst>
          <pc:docMk/>
          <pc:sldMk cId="4028648865" sldId="413"/>
        </pc:sldMkLst>
        <pc:spChg chg="mod">
          <ac:chgData name="Phil Mauracher" userId="44bd136f-269c-43de-b90b-c39a626339c6" providerId="ADAL" clId="{969FDBDB-FE0D-7548-B002-2C9DC1962CB7}" dt="2025-05-28T14:07:42.775" v="1167" actId="20577"/>
          <ac:spMkLst>
            <pc:docMk/>
            <pc:sldMk cId="4028648865" sldId="413"/>
            <ac:spMk id="3" creationId="{98F03678-D454-B81E-479A-D60A0AD9A0F6}"/>
          </ac:spMkLst>
        </pc:spChg>
      </pc:sldChg>
      <pc:sldChg chg="modSp mod">
        <pc:chgData name="Phil Mauracher" userId="44bd136f-269c-43de-b90b-c39a626339c6" providerId="ADAL" clId="{969FDBDB-FE0D-7548-B002-2C9DC1962CB7}" dt="2025-05-28T14:29:12.358" v="1995" actId="20577"/>
        <pc:sldMkLst>
          <pc:docMk/>
          <pc:sldMk cId="4036146642" sldId="415"/>
        </pc:sldMkLst>
        <pc:spChg chg="mod">
          <ac:chgData name="Phil Mauracher" userId="44bd136f-269c-43de-b90b-c39a626339c6" providerId="ADAL" clId="{969FDBDB-FE0D-7548-B002-2C9DC1962CB7}" dt="2025-05-28T14:29:12.358" v="1995" actId="20577"/>
          <ac:spMkLst>
            <pc:docMk/>
            <pc:sldMk cId="4036146642" sldId="415"/>
            <ac:spMk id="16" creationId="{E32D4050-CC94-DF9B-0E27-1A288F876951}"/>
          </ac:spMkLst>
        </pc:spChg>
      </pc:sldChg>
      <pc:sldChg chg="modSp mod">
        <pc:chgData name="Phil Mauracher" userId="44bd136f-269c-43de-b90b-c39a626339c6" providerId="ADAL" clId="{969FDBDB-FE0D-7548-B002-2C9DC1962CB7}" dt="2025-05-28T14:29:18.262" v="1997" actId="20577"/>
        <pc:sldMkLst>
          <pc:docMk/>
          <pc:sldMk cId="3855489509" sldId="416"/>
        </pc:sldMkLst>
        <pc:spChg chg="mod">
          <ac:chgData name="Phil Mauracher" userId="44bd136f-269c-43de-b90b-c39a626339c6" providerId="ADAL" clId="{969FDBDB-FE0D-7548-B002-2C9DC1962CB7}" dt="2025-05-28T14:29:18.262" v="1997" actId="20577"/>
          <ac:spMkLst>
            <pc:docMk/>
            <pc:sldMk cId="3855489509" sldId="416"/>
            <ac:spMk id="16" creationId="{C268E0F4-6DD9-E686-3320-DA1CD677A816}"/>
          </ac:spMkLst>
        </pc:spChg>
      </pc:sldChg>
      <pc:sldChg chg="addSp delSp modSp mod ord">
        <pc:chgData name="Phil Mauracher" userId="44bd136f-269c-43de-b90b-c39a626339c6" providerId="ADAL" clId="{969FDBDB-FE0D-7548-B002-2C9DC1962CB7}" dt="2025-05-28T14:41:16.302" v="2336" actId="27636"/>
        <pc:sldMkLst>
          <pc:docMk/>
          <pc:sldMk cId="2267074320" sldId="419"/>
        </pc:sldMkLst>
        <pc:spChg chg="mod">
          <ac:chgData name="Phil Mauracher" userId="44bd136f-269c-43de-b90b-c39a626339c6" providerId="ADAL" clId="{969FDBDB-FE0D-7548-B002-2C9DC1962CB7}" dt="2025-05-28T14:41:16.302" v="2336" actId="27636"/>
          <ac:spMkLst>
            <pc:docMk/>
            <pc:sldMk cId="2267074320" sldId="419"/>
            <ac:spMk id="2" creationId="{4EDC6C8D-1AE7-7C39-4856-4C07BF07746D}"/>
          </ac:spMkLst>
        </pc:spChg>
        <pc:spChg chg="add del mod">
          <ac:chgData name="Phil Mauracher" userId="44bd136f-269c-43de-b90b-c39a626339c6" providerId="ADAL" clId="{969FDBDB-FE0D-7548-B002-2C9DC1962CB7}" dt="2025-05-28T14:13:39.117" v="1464" actId="478"/>
          <ac:spMkLst>
            <pc:docMk/>
            <pc:sldMk cId="2267074320" sldId="419"/>
            <ac:spMk id="4" creationId="{7AD7E5F9-E84A-430A-E0DE-1E3128A513E6}"/>
          </ac:spMkLst>
        </pc:spChg>
        <pc:picChg chg="add mod">
          <ac:chgData name="Phil Mauracher" userId="44bd136f-269c-43de-b90b-c39a626339c6" providerId="ADAL" clId="{969FDBDB-FE0D-7548-B002-2C9DC1962CB7}" dt="2025-05-28T14:36:51.029" v="2280" actId="1076"/>
          <ac:picMkLst>
            <pc:docMk/>
            <pc:sldMk cId="2267074320" sldId="419"/>
            <ac:picMk id="7" creationId="{75E9EB36-F6EC-3805-AEFD-25335701D570}"/>
          </ac:picMkLst>
        </pc:picChg>
        <pc:picChg chg="del">
          <ac:chgData name="Phil Mauracher" userId="44bd136f-269c-43de-b90b-c39a626339c6" providerId="ADAL" clId="{969FDBDB-FE0D-7548-B002-2C9DC1962CB7}" dt="2025-05-28T13:29:18.173" v="92" actId="478"/>
          <ac:picMkLst>
            <pc:docMk/>
            <pc:sldMk cId="2267074320" sldId="419"/>
            <ac:picMk id="14" creationId="{68D15AA3-BFC2-8F28-D14C-400B7B4BADDE}"/>
          </ac:picMkLst>
        </pc:picChg>
      </pc:sldChg>
      <pc:sldChg chg="addSp delSp modSp mod ord">
        <pc:chgData name="Phil Mauracher" userId="44bd136f-269c-43de-b90b-c39a626339c6" providerId="ADAL" clId="{969FDBDB-FE0D-7548-B002-2C9DC1962CB7}" dt="2025-05-28T14:48:47.501" v="2359" actId="14100"/>
        <pc:sldMkLst>
          <pc:docMk/>
          <pc:sldMk cId="3351970996" sldId="420"/>
        </pc:sldMkLst>
        <pc:spChg chg="mod">
          <ac:chgData name="Phil Mauracher" userId="44bd136f-269c-43de-b90b-c39a626339c6" providerId="ADAL" clId="{969FDBDB-FE0D-7548-B002-2C9DC1962CB7}" dt="2025-05-28T14:24:44.411" v="1922" actId="1076"/>
          <ac:spMkLst>
            <pc:docMk/>
            <pc:sldMk cId="3351970996" sldId="420"/>
            <ac:spMk id="2" creationId="{083C4ED0-AF78-A494-3CDF-F337FF717341}"/>
          </ac:spMkLst>
        </pc:spChg>
        <pc:spChg chg="mod">
          <ac:chgData name="Phil Mauracher" userId="44bd136f-269c-43de-b90b-c39a626339c6" providerId="ADAL" clId="{969FDBDB-FE0D-7548-B002-2C9DC1962CB7}" dt="2025-05-28T14:44:04.069" v="2351" actId="14100"/>
          <ac:spMkLst>
            <pc:docMk/>
            <pc:sldMk cId="3351970996" sldId="420"/>
            <ac:spMk id="12" creationId="{B6F6E668-283A-CB5F-78B6-2DD1989775F6}"/>
          </ac:spMkLst>
        </pc:spChg>
        <pc:picChg chg="del">
          <ac:chgData name="Phil Mauracher" userId="44bd136f-269c-43de-b90b-c39a626339c6" providerId="ADAL" clId="{969FDBDB-FE0D-7548-B002-2C9DC1962CB7}" dt="2025-05-28T14:48:28.333" v="2352" actId="478"/>
          <ac:picMkLst>
            <pc:docMk/>
            <pc:sldMk cId="3351970996" sldId="420"/>
            <ac:picMk id="4" creationId="{C1BBD16E-9345-0114-DE47-4A4592D561E4}"/>
          </ac:picMkLst>
        </pc:picChg>
        <pc:picChg chg="add mod">
          <ac:chgData name="Phil Mauracher" userId="44bd136f-269c-43de-b90b-c39a626339c6" providerId="ADAL" clId="{969FDBDB-FE0D-7548-B002-2C9DC1962CB7}" dt="2025-05-28T14:48:47.501" v="2359" actId="14100"/>
          <ac:picMkLst>
            <pc:docMk/>
            <pc:sldMk cId="3351970996" sldId="420"/>
            <ac:picMk id="5" creationId="{2CC53F2F-0D7C-11BD-4DE1-13C3E908CDD2}"/>
          </ac:picMkLst>
        </pc:picChg>
      </pc:sldChg>
      <pc:sldChg chg="addSp delSp modSp mod">
        <pc:chgData name="Phil Mauracher" userId="44bd136f-269c-43de-b90b-c39a626339c6" providerId="ADAL" clId="{969FDBDB-FE0D-7548-B002-2C9DC1962CB7}" dt="2025-05-28T16:58:28.634" v="2820" actId="1076"/>
        <pc:sldMkLst>
          <pc:docMk/>
          <pc:sldMk cId="1619521803" sldId="421"/>
        </pc:sldMkLst>
        <pc:spChg chg="mod">
          <ac:chgData name="Phil Mauracher" userId="44bd136f-269c-43de-b90b-c39a626339c6" providerId="ADAL" clId="{969FDBDB-FE0D-7548-B002-2C9DC1962CB7}" dt="2025-05-28T16:58:28.634" v="2820" actId="1076"/>
          <ac:spMkLst>
            <pc:docMk/>
            <pc:sldMk cId="1619521803" sldId="421"/>
            <ac:spMk id="2" creationId="{78B46145-BA1C-743E-E576-7E9D57D21094}"/>
          </ac:spMkLst>
        </pc:spChg>
        <pc:spChg chg="mod">
          <ac:chgData name="Phil Mauracher" userId="44bd136f-269c-43de-b90b-c39a626339c6" providerId="ADAL" clId="{969FDBDB-FE0D-7548-B002-2C9DC1962CB7}" dt="2025-05-28T14:43:17.602" v="2344" actId="27636"/>
          <ac:spMkLst>
            <pc:docMk/>
            <pc:sldMk cId="1619521803" sldId="421"/>
            <ac:spMk id="12" creationId="{B7464C61-C8F2-114B-DFD8-8063830BF1DC}"/>
          </ac:spMkLst>
        </pc:spChg>
        <pc:picChg chg="add mod">
          <ac:chgData name="Phil Mauracher" userId="44bd136f-269c-43de-b90b-c39a626339c6" providerId="ADAL" clId="{969FDBDB-FE0D-7548-B002-2C9DC1962CB7}" dt="2025-05-28T15:06:10.171" v="2612" actId="14100"/>
          <ac:picMkLst>
            <pc:docMk/>
            <pc:sldMk cId="1619521803" sldId="421"/>
            <ac:picMk id="4" creationId="{4BF06515-8504-1323-9E17-66F2D4F689C7}"/>
          </ac:picMkLst>
        </pc:picChg>
        <pc:picChg chg="add del">
          <ac:chgData name="Phil Mauracher" userId="44bd136f-269c-43de-b90b-c39a626339c6" providerId="ADAL" clId="{969FDBDB-FE0D-7548-B002-2C9DC1962CB7}" dt="2025-05-28T15:04:33.331" v="2520" actId="478"/>
          <ac:picMkLst>
            <pc:docMk/>
            <pc:sldMk cId="1619521803" sldId="421"/>
            <ac:picMk id="5" creationId="{3C28C84F-055E-40F6-DAC3-671207D33CD3}"/>
          </ac:picMkLst>
        </pc:picChg>
      </pc:sldChg>
      <pc:sldChg chg="addSp delSp modSp mod ord">
        <pc:chgData name="Phil Mauracher" userId="44bd136f-269c-43de-b90b-c39a626339c6" providerId="ADAL" clId="{969FDBDB-FE0D-7548-B002-2C9DC1962CB7}" dt="2025-05-28T16:59:16.571" v="2822" actId="14100"/>
        <pc:sldMkLst>
          <pc:docMk/>
          <pc:sldMk cId="1840286883" sldId="422"/>
        </pc:sldMkLst>
        <pc:spChg chg="mod">
          <ac:chgData name="Phil Mauracher" userId="44bd136f-269c-43de-b90b-c39a626339c6" providerId="ADAL" clId="{969FDBDB-FE0D-7548-B002-2C9DC1962CB7}" dt="2025-05-28T14:55:44.772" v="2507" actId="20577"/>
          <ac:spMkLst>
            <pc:docMk/>
            <pc:sldMk cId="1840286883" sldId="422"/>
            <ac:spMk id="2" creationId="{7A58EC61-75FA-C116-4594-AABF5F4E8A91}"/>
          </ac:spMkLst>
        </pc:spChg>
        <pc:spChg chg="add mod">
          <ac:chgData name="Phil Mauracher" userId="44bd136f-269c-43de-b90b-c39a626339c6" providerId="ADAL" clId="{969FDBDB-FE0D-7548-B002-2C9DC1962CB7}" dt="2025-05-28T14:54:41.022" v="2361" actId="767"/>
          <ac:spMkLst>
            <pc:docMk/>
            <pc:sldMk cId="1840286883" sldId="422"/>
            <ac:spMk id="3" creationId="{A13E7646-07A1-87B3-0FCE-D1DE3AC52B4C}"/>
          </ac:spMkLst>
        </pc:spChg>
        <pc:spChg chg="mod">
          <ac:chgData name="Phil Mauracher" userId="44bd136f-269c-43de-b90b-c39a626339c6" providerId="ADAL" clId="{969FDBDB-FE0D-7548-B002-2C9DC1962CB7}" dt="2025-05-28T16:59:16.571" v="2822" actId="14100"/>
          <ac:spMkLst>
            <pc:docMk/>
            <pc:sldMk cId="1840286883" sldId="422"/>
            <ac:spMk id="12" creationId="{C1345121-6CC4-48EA-2D77-57DB6C08C72B}"/>
          </ac:spMkLst>
        </pc:spChg>
        <pc:picChg chg="del">
          <ac:chgData name="Phil Mauracher" userId="44bd136f-269c-43de-b90b-c39a626339c6" providerId="ADAL" clId="{969FDBDB-FE0D-7548-B002-2C9DC1962CB7}" dt="2025-05-28T14:55:46.288" v="2508" actId="478"/>
          <ac:picMkLst>
            <pc:docMk/>
            <pc:sldMk cId="1840286883" sldId="422"/>
            <ac:picMk id="5" creationId="{A4574476-FA52-3A9A-FB58-0FFC9661C185}"/>
          </ac:picMkLst>
        </pc:picChg>
        <pc:picChg chg="add mod">
          <ac:chgData name="Phil Mauracher" userId="44bd136f-269c-43de-b90b-c39a626339c6" providerId="ADAL" clId="{969FDBDB-FE0D-7548-B002-2C9DC1962CB7}" dt="2025-05-28T15:02:46.598" v="2516" actId="14100"/>
          <ac:picMkLst>
            <pc:docMk/>
            <pc:sldMk cId="1840286883" sldId="422"/>
            <ac:picMk id="7" creationId="{DC80F44C-2387-1FFC-61F1-9DD1E73F8EB2}"/>
          </ac:picMkLst>
        </pc:picChg>
      </pc:sldChg>
      <pc:sldChg chg="modSp mod ord">
        <pc:chgData name="Phil Mauracher" userId="44bd136f-269c-43de-b90b-c39a626339c6" providerId="ADAL" clId="{969FDBDB-FE0D-7548-B002-2C9DC1962CB7}" dt="2025-05-28T15:03:28.503" v="2517" actId="1076"/>
        <pc:sldMkLst>
          <pc:docMk/>
          <pc:sldMk cId="2226124939" sldId="424"/>
        </pc:sldMkLst>
        <pc:spChg chg="mod">
          <ac:chgData name="Phil Mauracher" userId="44bd136f-269c-43de-b90b-c39a626339c6" providerId="ADAL" clId="{969FDBDB-FE0D-7548-B002-2C9DC1962CB7}" dt="2025-05-28T15:03:28.503" v="2517" actId="1076"/>
          <ac:spMkLst>
            <pc:docMk/>
            <pc:sldMk cId="2226124939" sldId="424"/>
            <ac:spMk id="2" creationId="{F99C73DC-2D2D-1641-2E66-9E10C729D8B5}"/>
          </ac:spMkLst>
        </pc:spChg>
        <pc:spChg chg="mod">
          <ac:chgData name="Phil Mauracher" userId="44bd136f-269c-43de-b90b-c39a626339c6" providerId="ADAL" clId="{969FDBDB-FE0D-7548-B002-2C9DC1962CB7}" dt="2025-05-28T14:42:41.659" v="2340" actId="27636"/>
          <ac:spMkLst>
            <pc:docMk/>
            <pc:sldMk cId="2226124939" sldId="424"/>
            <ac:spMk id="12" creationId="{EAA4C06B-7C69-FA04-B887-6BA9A6EB755C}"/>
          </ac:spMkLst>
        </pc:spChg>
      </pc:sldChg>
      <pc:sldChg chg="addSp delSp modSp mod">
        <pc:chgData name="Phil Mauracher" userId="44bd136f-269c-43de-b90b-c39a626339c6" providerId="ADAL" clId="{969FDBDB-FE0D-7548-B002-2C9DC1962CB7}" dt="2025-05-28T21:13:43.742" v="2830" actId="1076"/>
        <pc:sldMkLst>
          <pc:docMk/>
          <pc:sldMk cId="485422013" sldId="425"/>
        </pc:sldMkLst>
        <pc:spChg chg="mod">
          <ac:chgData name="Phil Mauracher" userId="44bd136f-269c-43de-b90b-c39a626339c6" providerId="ADAL" clId="{969FDBDB-FE0D-7548-B002-2C9DC1962CB7}" dt="2025-05-28T15:58:41.986" v="2819" actId="20577"/>
          <ac:spMkLst>
            <pc:docMk/>
            <pc:sldMk cId="485422013" sldId="425"/>
            <ac:spMk id="2" creationId="{D89C4B50-546E-537F-6E3A-ED763BB03637}"/>
          </ac:spMkLst>
        </pc:spChg>
        <pc:spChg chg="mod">
          <ac:chgData name="Phil Mauracher" userId="44bd136f-269c-43de-b90b-c39a626339c6" providerId="ADAL" clId="{969FDBDB-FE0D-7548-B002-2C9DC1962CB7}" dt="2025-05-28T14:43:23.262" v="2346" actId="27636"/>
          <ac:spMkLst>
            <pc:docMk/>
            <pc:sldMk cId="485422013" sldId="425"/>
            <ac:spMk id="12" creationId="{2350B121-7587-4DB5-A78B-C481CBD9E592}"/>
          </ac:spMkLst>
        </pc:spChg>
        <pc:picChg chg="add del mod">
          <ac:chgData name="Phil Mauracher" userId="44bd136f-269c-43de-b90b-c39a626339c6" providerId="ADAL" clId="{969FDBDB-FE0D-7548-B002-2C9DC1962CB7}" dt="2025-05-28T15:57:40.714" v="2691" actId="478"/>
          <ac:picMkLst>
            <pc:docMk/>
            <pc:sldMk cId="485422013" sldId="425"/>
            <ac:picMk id="4" creationId="{3229EC03-1448-D43D-D8DC-D549F0BCE9ED}"/>
          </ac:picMkLst>
        </pc:picChg>
        <pc:picChg chg="del">
          <ac:chgData name="Phil Mauracher" userId="44bd136f-269c-43de-b90b-c39a626339c6" providerId="ADAL" clId="{969FDBDB-FE0D-7548-B002-2C9DC1962CB7}" dt="2025-05-28T15:06:21.237" v="2614" actId="478"/>
          <ac:picMkLst>
            <pc:docMk/>
            <pc:sldMk cId="485422013" sldId="425"/>
            <ac:picMk id="5" creationId="{300A125F-ED2B-1A66-66CC-EE5039185FA6}"/>
          </ac:picMkLst>
        </pc:picChg>
        <pc:picChg chg="add mod">
          <ac:chgData name="Phil Mauracher" userId="44bd136f-269c-43de-b90b-c39a626339c6" providerId="ADAL" clId="{969FDBDB-FE0D-7548-B002-2C9DC1962CB7}" dt="2025-05-28T21:13:43.742" v="2830" actId="1076"/>
          <ac:picMkLst>
            <pc:docMk/>
            <pc:sldMk cId="485422013" sldId="425"/>
            <ac:picMk id="8" creationId="{35687B29-1954-B683-D110-48345C9157D4}"/>
          </ac:picMkLst>
        </pc:picChg>
      </pc:sldChg>
      <pc:sldChg chg="modSp mod">
        <pc:chgData name="Phil Mauracher" userId="44bd136f-269c-43de-b90b-c39a626339c6" providerId="ADAL" clId="{969FDBDB-FE0D-7548-B002-2C9DC1962CB7}" dt="2025-05-28T21:15:32.213" v="2938" actId="20577"/>
        <pc:sldMkLst>
          <pc:docMk/>
          <pc:sldMk cId="3756425495" sldId="426"/>
        </pc:sldMkLst>
        <pc:spChg chg="mod">
          <ac:chgData name="Phil Mauracher" userId="44bd136f-269c-43de-b90b-c39a626339c6" providerId="ADAL" clId="{969FDBDB-FE0D-7548-B002-2C9DC1962CB7}" dt="2025-05-28T21:15:32.213" v="2938" actId="20577"/>
          <ac:spMkLst>
            <pc:docMk/>
            <pc:sldMk cId="3756425495" sldId="426"/>
            <ac:spMk id="2" creationId="{8C22CD97-596C-EE30-9113-900C5E74606D}"/>
          </ac:spMkLst>
        </pc:spChg>
        <pc:spChg chg="mod">
          <ac:chgData name="Phil Mauracher" userId="44bd136f-269c-43de-b90b-c39a626339c6" providerId="ADAL" clId="{969FDBDB-FE0D-7548-B002-2C9DC1962CB7}" dt="2025-05-28T14:43:40.920" v="2348" actId="27636"/>
          <ac:spMkLst>
            <pc:docMk/>
            <pc:sldMk cId="3756425495" sldId="426"/>
            <ac:spMk id="12" creationId="{48A6C382-1F12-D608-FD46-16D8833F4137}"/>
          </ac:spMkLst>
        </pc:spChg>
        <pc:picChg chg="mod">
          <ac:chgData name="Phil Mauracher" userId="44bd136f-269c-43de-b90b-c39a626339c6" providerId="ADAL" clId="{969FDBDB-FE0D-7548-B002-2C9DC1962CB7}" dt="2025-05-28T21:14:52.333" v="2831" actId="14826"/>
          <ac:picMkLst>
            <pc:docMk/>
            <pc:sldMk cId="3756425495" sldId="426"/>
            <ac:picMk id="5" creationId="{EE4DD239-DE36-342C-95FB-1E27CE205E1D}"/>
          </ac:picMkLst>
        </pc:picChg>
      </pc:sldChg>
      <pc:sldChg chg="modSp add del mod">
        <pc:chgData name="Phil Mauracher" userId="44bd136f-269c-43de-b90b-c39a626339c6" providerId="ADAL" clId="{969FDBDB-FE0D-7548-B002-2C9DC1962CB7}" dt="2025-05-28T14:28:54.613" v="1992" actId="2696"/>
        <pc:sldMkLst>
          <pc:docMk/>
          <pc:sldMk cId="2595258624" sldId="427"/>
        </pc:sldMkLst>
        <pc:spChg chg="mod">
          <ac:chgData name="Phil Mauracher" userId="44bd136f-269c-43de-b90b-c39a626339c6" providerId="ADAL" clId="{969FDBDB-FE0D-7548-B002-2C9DC1962CB7}" dt="2025-05-28T13:33:55.318" v="394" actId="20577"/>
          <ac:spMkLst>
            <pc:docMk/>
            <pc:sldMk cId="2595258624" sldId="427"/>
            <ac:spMk id="12" creationId="{6BA151E9-6C19-E469-71F8-2B530E0EF50D}"/>
          </ac:spMkLst>
        </pc:spChg>
      </pc:sldChg>
      <pc:sldChg chg="addSp delSp modSp add mod">
        <pc:chgData name="Phil Mauracher" userId="44bd136f-269c-43de-b90b-c39a626339c6" providerId="ADAL" clId="{969FDBDB-FE0D-7548-B002-2C9DC1962CB7}" dt="2025-05-28T21:22:47.451" v="3608" actId="27636"/>
        <pc:sldMkLst>
          <pc:docMk/>
          <pc:sldMk cId="4119254558" sldId="427"/>
        </pc:sldMkLst>
        <pc:spChg chg="mod">
          <ac:chgData name="Phil Mauracher" userId="44bd136f-269c-43de-b90b-c39a626339c6" providerId="ADAL" clId="{969FDBDB-FE0D-7548-B002-2C9DC1962CB7}" dt="2025-05-28T21:22:47.451" v="3608" actId="27636"/>
          <ac:spMkLst>
            <pc:docMk/>
            <pc:sldMk cId="4119254558" sldId="427"/>
            <ac:spMk id="2" creationId="{DDEBD977-F63B-6496-FAC4-C30C0013CED5}"/>
          </ac:spMkLst>
        </pc:spChg>
        <pc:spChg chg="mod">
          <ac:chgData name="Phil Mauracher" userId="44bd136f-269c-43de-b90b-c39a626339c6" providerId="ADAL" clId="{969FDBDB-FE0D-7548-B002-2C9DC1962CB7}" dt="2025-05-28T21:19:16.435" v="3301" actId="20577"/>
          <ac:spMkLst>
            <pc:docMk/>
            <pc:sldMk cId="4119254558" sldId="427"/>
            <ac:spMk id="12" creationId="{6BA151E9-6C19-E469-71F8-2B530E0EF50D}"/>
          </ac:spMkLst>
        </pc:spChg>
        <pc:picChg chg="add del mod">
          <ac:chgData name="Phil Mauracher" userId="44bd136f-269c-43de-b90b-c39a626339c6" providerId="ADAL" clId="{969FDBDB-FE0D-7548-B002-2C9DC1962CB7}" dt="2025-05-28T21:22:15.046" v="3602" actId="1076"/>
          <ac:picMkLst>
            <pc:docMk/>
            <pc:sldMk cId="4119254558" sldId="427"/>
            <ac:picMk id="5" creationId="{07DB45F0-3BB8-14C0-C0F5-920CE80C21C6}"/>
          </ac:picMkLst>
        </pc:picChg>
      </pc:sldChg>
      <pc:sldChg chg="modSp add mod">
        <pc:chgData name="Phil Mauracher" userId="44bd136f-269c-43de-b90b-c39a626339c6" providerId="ADAL" clId="{969FDBDB-FE0D-7548-B002-2C9DC1962CB7}" dt="2025-05-28T14:29:23.502" v="1999" actId="20577"/>
        <pc:sldMkLst>
          <pc:docMk/>
          <pc:sldMk cId="807718132" sldId="428"/>
        </pc:sldMkLst>
        <pc:spChg chg="mod">
          <ac:chgData name="Phil Mauracher" userId="44bd136f-269c-43de-b90b-c39a626339c6" providerId="ADAL" clId="{969FDBDB-FE0D-7548-B002-2C9DC1962CB7}" dt="2025-05-28T14:29:23.502" v="1999" actId="20577"/>
          <ac:spMkLst>
            <pc:docMk/>
            <pc:sldMk cId="807718132" sldId="428"/>
            <ac:spMk id="16" creationId="{A76DC2CD-5AFF-8264-3AC7-CDA09E0BA782}"/>
          </ac:spMkLst>
        </pc:spChg>
      </pc:sldChg>
      <pc:sldChg chg="modSp add del mod ord">
        <pc:chgData name="Phil Mauracher" userId="44bd136f-269c-43de-b90b-c39a626339c6" providerId="ADAL" clId="{969FDBDB-FE0D-7548-B002-2C9DC1962CB7}" dt="2025-05-28T14:28:54.613" v="1992" actId="2696"/>
        <pc:sldMkLst>
          <pc:docMk/>
          <pc:sldMk cId="2384973117" sldId="428"/>
        </pc:sldMkLst>
        <pc:spChg chg="mod">
          <ac:chgData name="Phil Mauracher" userId="44bd136f-269c-43de-b90b-c39a626339c6" providerId="ADAL" clId="{969FDBDB-FE0D-7548-B002-2C9DC1962CB7}" dt="2025-05-28T14:26:56.677" v="1991" actId="20577"/>
          <ac:spMkLst>
            <pc:docMk/>
            <pc:sldMk cId="2384973117" sldId="428"/>
            <ac:spMk id="3" creationId="{9464B7C6-A313-9C3E-6A4A-EB539542AC53}"/>
          </ac:spMkLst>
        </pc:spChg>
      </pc:sldChg>
      <pc:sldChg chg="modSp add del mod ord">
        <pc:chgData name="Phil Mauracher" userId="44bd136f-269c-43de-b90b-c39a626339c6" providerId="ADAL" clId="{969FDBDB-FE0D-7548-B002-2C9DC1962CB7}" dt="2025-05-28T14:29:46.679" v="2004" actId="2696"/>
        <pc:sldMkLst>
          <pc:docMk/>
          <pc:sldMk cId="2689739539" sldId="429"/>
        </pc:sldMkLst>
        <pc:spChg chg="mod">
          <ac:chgData name="Phil Mauracher" userId="44bd136f-269c-43de-b90b-c39a626339c6" providerId="ADAL" clId="{969FDBDB-FE0D-7548-B002-2C9DC1962CB7}" dt="2025-05-28T13:37:22.426" v="510" actId="20577"/>
          <ac:spMkLst>
            <pc:docMk/>
            <pc:sldMk cId="2689739539" sldId="429"/>
            <ac:spMk id="3" creationId="{34493019-2469-6010-7671-53BA4C39FFE7}"/>
          </ac:spMkLst>
        </pc:spChg>
        <pc:spChg chg="mod">
          <ac:chgData name="Phil Mauracher" userId="44bd136f-269c-43de-b90b-c39a626339c6" providerId="ADAL" clId="{969FDBDB-FE0D-7548-B002-2C9DC1962CB7}" dt="2025-05-28T13:37:26.370" v="512" actId="20577"/>
          <ac:spMkLst>
            <pc:docMk/>
            <pc:sldMk cId="2689739539" sldId="429"/>
            <ac:spMk id="16" creationId="{B0D7EB4D-09CB-3FC2-4376-FD78DD833D2A}"/>
          </ac:spMkLst>
        </pc:spChg>
      </pc:sldChg>
      <pc:sldChg chg="addSp delSp modSp add del mod">
        <pc:chgData name="Phil Mauracher" userId="44bd136f-269c-43de-b90b-c39a626339c6" providerId="ADAL" clId="{969FDBDB-FE0D-7548-B002-2C9DC1962CB7}" dt="2025-05-28T14:29:49.161" v="2006" actId="2696"/>
        <pc:sldMkLst>
          <pc:docMk/>
          <pc:sldMk cId="2551854231" sldId="430"/>
        </pc:sldMkLst>
        <pc:spChg chg="add del mod">
          <ac:chgData name="Phil Mauracher" userId="44bd136f-269c-43de-b90b-c39a626339c6" providerId="ADAL" clId="{969FDBDB-FE0D-7548-B002-2C9DC1962CB7}" dt="2025-05-28T13:57:24.023" v="1020" actId="478"/>
          <ac:spMkLst>
            <pc:docMk/>
            <pc:sldMk cId="2551854231" sldId="430"/>
            <ac:spMk id="3" creationId="{1B33DE4B-1D10-0718-0064-E7C47D08F9E9}"/>
          </ac:spMkLst>
        </pc:spChg>
        <pc:spChg chg="del">
          <ac:chgData name="Phil Mauracher" userId="44bd136f-269c-43de-b90b-c39a626339c6" providerId="ADAL" clId="{969FDBDB-FE0D-7548-B002-2C9DC1962CB7}" dt="2025-05-28T13:56:01.798" v="922" actId="478"/>
          <ac:spMkLst>
            <pc:docMk/>
            <pc:sldMk cId="2551854231" sldId="430"/>
            <ac:spMk id="4" creationId="{DE625F5B-AA12-D458-C224-83BBAD050E3C}"/>
          </ac:spMkLst>
        </pc:spChg>
        <pc:spChg chg="mod">
          <ac:chgData name="Phil Mauracher" userId="44bd136f-269c-43de-b90b-c39a626339c6" providerId="ADAL" clId="{969FDBDB-FE0D-7548-B002-2C9DC1962CB7}" dt="2025-05-28T14:29:41.266" v="2003" actId="20577"/>
          <ac:spMkLst>
            <pc:docMk/>
            <pc:sldMk cId="2551854231" sldId="430"/>
            <ac:spMk id="5" creationId="{100DF4F5-10D7-1BE7-014E-56DBAB7199EA}"/>
          </ac:spMkLst>
        </pc:spChg>
      </pc:sldChg>
      <pc:sldChg chg="addSp delSp modSp add mod modCm">
        <pc:chgData name="Phil Mauracher" userId="44bd136f-269c-43de-b90b-c39a626339c6" providerId="ADAL" clId="{969FDBDB-FE0D-7548-B002-2C9DC1962CB7}" dt="2025-05-28T14:43:02.917" v="2342" actId="27636"/>
        <pc:sldMkLst>
          <pc:docMk/>
          <pc:sldMk cId="2720251488" sldId="431"/>
        </pc:sldMkLst>
        <pc:spChg chg="mod">
          <ac:chgData name="Phil Mauracher" userId="44bd136f-269c-43de-b90b-c39a626339c6" providerId="ADAL" clId="{969FDBDB-FE0D-7548-B002-2C9DC1962CB7}" dt="2025-05-28T14:25:33.260" v="1978" actId="20577"/>
          <ac:spMkLst>
            <pc:docMk/>
            <pc:sldMk cId="2720251488" sldId="431"/>
            <ac:spMk id="2" creationId="{38B913F4-4BFB-6E8E-6606-685D7136AD2A}"/>
          </ac:spMkLst>
        </pc:spChg>
        <pc:spChg chg="mod">
          <ac:chgData name="Phil Mauracher" userId="44bd136f-269c-43de-b90b-c39a626339c6" providerId="ADAL" clId="{969FDBDB-FE0D-7548-B002-2C9DC1962CB7}" dt="2025-05-28T14:43:02.917" v="2342" actId="27636"/>
          <ac:spMkLst>
            <pc:docMk/>
            <pc:sldMk cId="2720251488" sldId="431"/>
            <ac:spMk id="12" creationId="{32EBBE0C-DB0E-11A0-C4FC-7B3439423A01}"/>
          </ac:spMkLst>
        </pc:spChg>
        <pc:picChg chg="add mod">
          <ac:chgData name="Phil Mauracher" userId="44bd136f-269c-43de-b90b-c39a626339c6" providerId="ADAL" clId="{969FDBDB-FE0D-7548-B002-2C9DC1962CB7}" dt="2025-05-28T14:24:30.475" v="1921" actId="1076"/>
          <ac:picMkLst>
            <pc:docMk/>
            <pc:sldMk cId="2720251488" sldId="431"/>
            <ac:picMk id="4" creationId="{BCDE2AE3-40FE-27CE-7A60-487D4E3E2839}"/>
          </ac:picMkLst>
        </pc:picChg>
        <pc:picChg chg="del">
          <ac:chgData name="Phil Mauracher" userId="44bd136f-269c-43de-b90b-c39a626339c6" providerId="ADAL" clId="{969FDBDB-FE0D-7548-B002-2C9DC1962CB7}" dt="2025-05-28T14:23:10.857" v="1795" actId="478"/>
          <ac:picMkLst>
            <pc:docMk/>
            <pc:sldMk cId="2720251488" sldId="431"/>
            <ac:picMk id="10" creationId="{EF9D8237-C098-63FC-5CF4-BBC508F7CD78}"/>
          </ac:picMkLst>
        </pc:picChg>
        <pc:extLst>
          <p:ext xmlns:p="http://schemas.openxmlformats.org/presentationml/2006/main" uri="{D6D511B9-2390-475A-947B-AFAB55BFBCF1}">
            <pc226:cmChg xmlns:pc226="http://schemas.microsoft.com/office/powerpoint/2022/06/main/command" chg="mod">
              <pc226:chgData name="Phil Mauracher" userId="44bd136f-269c-43de-b90b-c39a626339c6" providerId="ADAL" clId="{969FDBDB-FE0D-7548-B002-2C9DC1962CB7}" dt="2025-05-28T14:25:33.260" v="1978" actId="20577"/>
              <pc2:cmMkLst xmlns:pc2="http://schemas.microsoft.com/office/powerpoint/2019/9/main/command">
                <pc:docMk/>
                <pc:sldMk cId="2720251488" sldId="431"/>
                <pc2:cmMk id="{D4132A44-B5D3-C14D-B328-AD477918B251}"/>
              </pc2:cmMkLst>
            </pc226:cmChg>
          </p:ext>
        </pc:extLst>
      </pc:sldChg>
      <pc:sldChg chg="modSp add del mod">
        <pc:chgData name="Phil Mauracher" userId="44bd136f-269c-43de-b90b-c39a626339c6" providerId="ADAL" clId="{969FDBDB-FE0D-7548-B002-2C9DC1962CB7}" dt="2025-05-28T14:18:29.192" v="1724" actId="2696"/>
        <pc:sldMkLst>
          <pc:docMk/>
          <pc:sldMk cId="3024470661" sldId="431"/>
        </pc:sldMkLst>
        <pc:spChg chg="mod">
          <ac:chgData name="Phil Mauracher" userId="44bd136f-269c-43de-b90b-c39a626339c6" providerId="ADAL" clId="{969FDBDB-FE0D-7548-B002-2C9DC1962CB7}" dt="2025-05-28T14:17:52.114" v="1723" actId="20577"/>
          <ac:spMkLst>
            <pc:docMk/>
            <pc:sldMk cId="3024470661" sldId="431"/>
            <ac:spMk id="2" creationId="{AB6689B0-A205-75AC-8102-F08F91DE590A}"/>
          </ac:spMkLst>
        </pc:spChg>
        <pc:spChg chg="mod">
          <ac:chgData name="Phil Mauracher" userId="44bd136f-269c-43de-b90b-c39a626339c6" providerId="ADAL" clId="{969FDBDB-FE0D-7548-B002-2C9DC1962CB7}" dt="2025-05-28T14:17:23.422" v="1600" actId="20577"/>
          <ac:spMkLst>
            <pc:docMk/>
            <pc:sldMk cId="3024470661" sldId="431"/>
            <ac:spMk id="12" creationId="{E625E95D-64E7-A3FE-2309-1A5F59810D22}"/>
          </ac:spMkLst>
        </pc:spChg>
      </pc:sldChg>
      <pc:sldChg chg="add del">
        <pc:chgData name="Phil Mauracher" userId="44bd136f-269c-43de-b90b-c39a626339c6" providerId="ADAL" clId="{969FDBDB-FE0D-7548-B002-2C9DC1962CB7}" dt="2025-05-28T14:22:49.379" v="1791"/>
        <pc:sldMkLst>
          <pc:docMk/>
          <pc:sldMk cId="2986682589" sldId="432"/>
        </pc:sldMkLst>
      </pc:sldChg>
      <pc:sldChg chg="addSp modSp add mod">
        <pc:chgData name="Phil Mauracher" userId="44bd136f-269c-43de-b90b-c39a626339c6" providerId="ADAL" clId="{969FDBDB-FE0D-7548-B002-2C9DC1962CB7}" dt="2025-05-28T21:28:46.176" v="4286" actId="20577"/>
        <pc:sldMkLst>
          <pc:docMk/>
          <pc:sldMk cId="3385669951" sldId="432"/>
        </pc:sldMkLst>
        <pc:spChg chg="mod">
          <ac:chgData name="Phil Mauracher" userId="44bd136f-269c-43de-b90b-c39a626339c6" providerId="ADAL" clId="{969FDBDB-FE0D-7548-B002-2C9DC1962CB7}" dt="2025-05-28T21:28:46.176" v="4286" actId="20577"/>
          <ac:spMkLst>
            <pc:docMk/>
            <pc:sldMk cId="3385669951" sldId="432"/>
            <ac:spMk id="2" creationId="{93A8F55A-6D90-74A0-FB36-ED6CE13E0773}"/>
          </ac:spMkLst>
        </pc:spChg>
        <pc:spChg chg="mod">
          <ac:chgData name="Phil Mauracher" userId="44bd136f-269c-43de-b90b-c39a626339c6" providerId="ADAL" clId="{969FDBDB-FE0D-7548-B002-2C9DC1962CB7}" dt="2025-05-28T21:24:09.611" v="3782" actId="20577"/>
          <ac:spMkLst>
            <pc:docMk/>
            <pc:sldMk cId="3385669951" sldId="432"/>
            <ac:spMk id="12" creationId="{30F8CFE2-4EEF-C51F-632C-4446320BDA54}"/>
          </ac:spMkLst>
        </pc:spChg>
        <pc:picChg chg="add mod">
          <ac:chgData name="Phil Mauracher" userId="44bd136f-269c-43de-b90b-c39a626339c6" providerId="ADAL" clId="{969FDBDB-FE0D-7548-B002-2C9DC1962CB7}" dt="2025-05-28T21:28:03.735" v="4110" actId="1076"/>
          <ac:picMkLst>
            <pc:docMk/>
            <pc:sldMk cId="3385669951" sldId="432"/>
            <ac:picMk id="4" creationId="{CFB5128B-0323-2E43-00E5-6B98FD40F540}"/>
          </ac:picMkLst>
        </pc:picChg>
        <pc:picChg chg="mod">
          <ac:chgData name="Phil Mauracher" userId="44bd136f-269c-43de-b90b-c39a626339c6" providerId="ADAL" clId="{969FDBDB-FE0D-7548-B002-2C9DC1962CB7}" dt="2025-05-28T21:27:48.360" v="4105" actId="1076"/>
          <ac:picMkLst>
            <pc:docMk/>
            <pc:sldMk cId="3385669951" sldId="432"/>
            <ac:picMk id="5" creationId="{65294B50-B138-0487-EBEA-012A4F8DAA54}"/>
          </ac:picMkLst>
        </pc:picChg>
      </pc:sldChg>
      <pc:sldChg chg="modSp add mod ord">
        <pc:chgData name="Phil Mauracher" userId="44bd136f-269c-43de-b90b-c39a626339c6" providerId="ADAL" clId="{969FDBDB-FE0D-7548-B002-2C9DC1962CB7}" dt="2025-05-28T14:32:10.888" v="2056" actId="20577"/>
        <pc:sldMkLst>
          <pc:docMk/>
          <pc:sldMk cId="3742963576" sldId="433"/>
        </pc:sldMkLst>
        <pc:spChg chg="mod">
          <ac:chgData name="Phil Mauracher" userId="44bd136f-269c-43de-b90b-c39a626339c6" providerId="ADAL" clId="{969FDBDB-FE0D-7548-B002-2C9DC1962CB7}" dt="2025-05-28T14:32:08.503" v="2054" actId="20577"/>
          <ac:spMkLst>
            <pc:docMk/>
            <pc:sldMk cId="3742963576" sldId="433"/>
            <ac:spMk id="3" creationId="{8A59D782-7752-35F0-D70A-DEB8AE3A28A1}"/>
          </ac:spMkLst>
        </pc:spChg>
        <pc:spChg chg="mod">
          <ac:chgData name="Phil Mauracher" userId="44bd136f-269c-43de-b90b-c39a626339c6" providerId="ADAL" clId="{969FDBDB-FE0D-7548-B002-2C9DC1962CB7}" dt="2025-05-28T14:32:10.888" v="2056" actId="20577"/>
          <ac:spMkLst>
            <pc:docMk/>
            <pc:sldMk cId="3742963576" sldId="433"/>
            <ac:spMk id="16" creationId="{3DAA60F2-4B8D-DFCC-7CBD-39CE8220A1AD}"/>
          </ac:spMkLst>
        </pc:spChg>
      </pc:sldChg>
      <pc:sldChg chg="modSp add mod">
        <pc:chgData name="Phil Mauracher" userId="44bd136f-269c-43de-b90b-c39a626339c6" providerId="ADAL" clId="{969FDBDB-FE0D-7548-B002-2C9DC1962CB7}" dt="2025-05-28T21:33:45.887" v="4746" actId="20577"/>
        <pc:sldMkLst>
          <pc:docMk/>
          <pc:sldMk cId="523533609" sldId="434"/>
        </pc:sldMkLst>
        <pc:spChg chg="mod">
          <ac:chgData name="Phil Mauracher" userId="44bd136f-269c-43de-b90b-c39a626339c6" providerId="ADAL" clId="{969FDBDB-FE0D-7548-B002-2C9DC1962CB7}" dt="2025-05-28T21:33:45.887" v="4746" actId="20577"/>
          <ac:spMkLst>
            <pc:docMk/>
            <pc:sldMk cId="523533609" sldId="434"/>
            <ac:spMk id="2" creationId="{1A8ACEE1-588F-D89D-B984-611E3725B0CF}"/>
          </ac:spMkLst>
        </pc:spChg>
        <pc:spChg chg="mod">
          <ac:chgData name="Phil Mauracher" userId="44bd136f-269c-43de-b90b-c39a626339c6" providerId="ADAL" clId="{969FDBDB-FE0D-7548-B002-2C9DC1962CB7}" dt="2025-05-28T14:33:05.474" v="2085" actId="20577"/>
          <ac:spMkLst>
            <pc:docMk/>
            <pc:sldMk cId="523533609" sldId="434"/>
            <ac:spMk id="12" creationId="{687A8976-09A3-DB34-6EBD-5C8AA69B53DE}"/>
          </ac:spMkLst>
        </pc:spChg>
        <pc:picChg chg="mod">
          <ac:chgData name="Phil Mauracher" userId="44bd136f-269c-43de-b90b-c39a626339c6" providerId="ADAL" clId="{969FDBDB-FE0D-7548-B002-2C9DC1962CB7}" dt="2025-05-28T21:31:23.201" v="4297" actId="14100"/>
          <ac:picMkLst>
            <pc:docMk/>
            <pc:sldMk cId="523533609" sldId="434"/>
            <ac:picMk id="5" creationId="{32D08443-3702-B41F-F394-4BBD1799EDE8}"/>
          </ac:picMkLst>
        </pc:picChg>
      </pc:sldChg>
      <pc:sldChg chg="add del">
        <pc:chgData name="Phil Mauracher" userId="44bd136f-269c-43de-b90b-c39a626339c6" providerId="ADAL" clId="{969FDBDB-FE0D-7548-B002-2C9DC1962CB7}" dt="2025-05-28T14:32:47.077" v="2058" actId="2696"/>
        <pc:sldMkLst>
          <pc:docMk/>
          <pc:sldMk cId="2212316940" sldId="434"/>
        </pc:sldMkLst>
      </pc:sldChg>
      <pc:sldChg chg="addSp modSp add mod">
        <pc:chgData name="Phil Mauracher" userId="44bd136f-269c-43de-b90b-c39a626339c6" providerId="ADAL" clId="{969FDBDB-FE0D-7548-B002-2C9DC1962CB7}" dt="2025-05-28T21:23:54.216" v="3767" actId="1076"/>
        <pc:sldMkLst>
          <pc:docMk/>
          <pc:sldMk cId="3001188693" sldId="435"/>
        </pc:sldMkLst>
        <pc:spChg chg="mod">
          <ac:chgData name="Phil Mauracher" userId="44bd136f-269c-43de-b90b-c39a626339c6" providerId="ADAL" clId="{969FDBDB-FE0D-7548-B002-2C9DC1962CB7}" dt="2025-05-28T21:23:26.694" v="3758" actId="20577"/>
          <ac:spMkLst>
            <pc:docMk/>
            <pc:sldMk cId="3001188693" sldId="435"/>
            <ac:spMk id="2" creationId="{7D962302-7D47-E2D2-5E44-991D7CE42505}"/>
          </ac:spMkLst>
        </pc:spChg>
        <pc:picChg chg="add mod">
          <ac:chgData name="Phil Mauracher" userId="44bd136f-269c-43de-b90b-c39a626339c6" providerId="ADAL" clId="{969FDBDB-FE0D-7548-B002-2C9DC1962CB7}" dt="2025-05-28T21:23:54.216" v="3767" actId="1076"/>
          <ac:picMkLst>
            <pc:docMk/>
            <pc:sldMk cId="3001188693" sldId="435"/>
            <ac:picMk id="4" creationId="{5FB5DA3F-01E6-938D-9171-51D5425CADBC}"/>
          </ac:picMkLst>
        </pc:picChg>
        <pc:picChg chg="mod">
          <ac:chgData name="Phil Mauracher" userId="44bd136f-269c-43de-b90b-c39a626339c6" providerId="ADAL" clId="{969FDBDB-FE0D-7548-B002-2C9DC1962CB7}" dt="2025-05-28T21:22:32.636" v="3604" actId="14826"/>
          <ac:picMkLst>
            <pc:docMk/>
            <pc:sldMk cId="3001188693" sldId="435"/>
            <ac:picMk id="5" creationId="{BCAD773A-0953-8C89-8B06-2942AA0A8580}"/>
          </ac:picMkLst>
        </pc:picChg>
      </pc:sldChg>
    </pc:docChg>
  </pc:docChgLst>
  <pc:docChgLst>
    <pc:chgData name="Rachael Chagnon" userId="S::rachael.chagnon@eqs.com::871bcc3d-b11c-46b6-b535-e388c92a0813" providerId="AD" clId="Web-{62425771-C2CE-4FDA-B795-ADF4B8EE7B89}"/>
    <pc:docChg chg="modSld">
      <pc:chgData name="Rachael Chagnon" userId="S::rachael.chagnon@eqs.com::871bcc3d-b11c-46b6-b535-e388c92a0813" providerId="AD" clId="Web-{62425771-C2CE-4FDA-B795-ADF4B8EE7B89}" dt="2025-06-04T02:44:45.719" v="27" actId="1076"/>
      <pc:docMkLst>
        <pc:docMk/>
      </pc:docMkLst>
      <pc:sldChg chg="modSp">
        <pc:chgData name="Rachael Chagnon" userId="S::rachael.chagnon@eqs.com::871bcc3d-b11c-46b6-b535-e388c92a0813" providerId="AD" clId="Web-{62425771-C2CE-4FDA-B795-ADF4B8EE7B89}" dt="2025-06-04T02:41:28.307" v="9" actId="20577"/>
        <pc:sldMkLst>
          <pc:docMk/>
          <pc:sldMk cId="1776881097" sldId="412"/>
        </pc:sldMkLst>
        <pc:spChg chg="mod">
          <ac:chgData name="Rachael Chagnon" userId="S::rachael.chagnon@eqs.com::871bcc3d-b11c-46b6-b535-e388c92a0813" providerId="AD" clId="Web-{62425771-C2CE-4FDA-B795-ADF4B8EE7B89}" dt="2025-06-04T02:41:28.307" v="9" actId="20577"/>
          <ac:spMkLst>
            <pc:docMk/>
            <pc:sldMk cId="1776881097" sldId="412"/>
            <ac:spMk id="4" creationId="{FAC8B032-9DF0-510F-0DCC-33EF179340A5}"/>
          </ac:spMkLst>
        </pc:spChg>
      </pc:sldChg>
      <pc:sldChg chg="modSp">
        <pc:chgData name="Rachael Chagnon" userId="S::rachael.chagnon@eqs.com::871bcc3d-b11c-46b6-b535-e388c92a0813" providerId="AD" clId="Web-{62425771-C2CE-4FDA-B795-ADF4B8EE7B89}" dt="2025-06-04T02:43:00.232" v="11" actId="1076"/>
        <pc:sldMkLst>
          <pc:docMk/>
          <pc:sldMk cId="1795470605" sldId="441"/>
        </pc:sldMkLst>
        <pc:picChg chg="mod">
          <ac:chgData name="Rachael Chagnon" userId="S::rachael.chagnon@eqs.com::871bcc3d-b11c-46b6-b535-e388c92a0813" providerId="AD" clId="Web-{62425771-C2CE-4FDA-B795-ADF4B8EE7B89}" dt="2025-06-04T02:43:00.232" v="11" actId="1076"/>
          <ac:picMkLst>
            <pc:docMk/>
            <pc:sldMk cId="1795470605" sldId="441"/>
            <ac:picMk id="4" creationId="{A466BF67-D333-0E55-5686-204E72F13D44}"/>
          </ac:picMkLst>
        </pc:picChg>
      </pc:sldChg>
      <pc:sldChg chg="modSp">
        <pc:chgData name="Rachael Chagnon" userId="S::rachael.chagnon@eqs.com::871bcc3d-b11c-46b6-b535-e388c92a0813" providerId="AD" clId="Web-{62425771-C2CE-4FDA-B795-ADF4B8EE7B89}" dt="2025-06-04T02:43:09.732" v="12" actId="1076"/>
        <pc:sldMkLst>
          <pc:docMk/>
          <pc:sldMk cId="233686342" sldId="443"/>
        </pc:sldMkLst>
        <pc:spChg chg="mod">
          <ac:chgData name="Rachael Chagnon" userId="S::rachael.chagnon@eqs.com::871bcc3d-b11c-46b6-b535-e388c92a0813" providerId="AD" clId="Web-{62425771-C2CE-4FDA-B795-ADF4B8EE7B89}" dt="2025-06-04T02:20:41.377" v="1" actId="20577"/>
          <ac:spMkLst>
            <pc:docMk/>
            <pc:sldMk cId="233686342" sldId="443"/>
            <ac:spMk id="5" creationId="{35F6F247-CEE0-1B2C-39B8-0D1CA151F55D}"/>
          </ac:spMkLst>
        </pc:spChg>
        <pc:picChg chg="mod">
          <ac:chgData name="Rachael Chagnon" userId="S::rachael.chagnon@eqs.com::871bcc3d-b11c-46b6-b535-e388c92a0813" providerId="AD" clId="Web-{62425771-C2CE-4FDA-B795-ADF4B8EE7B89}" dt="2025-06-04T02:43:09.732" v="12" actId="1076"/>
          <ac:picMkLst>
            <pc:docMk/>
            <pc:sldMk cId="233686342" sldId="443"/>
            <ac:picMk id="8" creationId="{B97FE08D-6AEB-69A8-752B-D41C50DBFF29}"/>
          </ac:picMkLst>
        </pc:picChg>
      </pc:sldChg>
      <pc:sldChg chg="modSp">
        <pc:chgData name="Rachael Chagnon" userId="S::rachael.chagnon@eqs.com::871bcc3d-b11c-46b6-b535-e388c92a0813" providerId="AD" clId="Web-{62425771-C2CE-4FDA-B795-ADF4B8EE7B89}" dt="2025-06-04T02:43:29.561" v="15" actId="1076"/>
        <pc:sldMkLst>
          <pc:docMk/>
          <pc:sldMk cId="519742122" sldId="445"/>
        </pc:sldMkLst>
        <pc:picChg chg="mod modCrop">
          <ac:chgData name="Rachael Chagnon" userId="S::rachael.chagnon@eqs.com::871bcc3d-b11c-46b6-b535-e388c92a0813" providerId="AD" clId="Web-{62425771-C2CE-4FDA-B795-ADF4B8EE7B89}" dt="2025-06-04T02:43:29.561" v="15" actId="1076"/>
          <ac:picMkLst>
            <pc:docMk/>
            <pc:sldMk cId="519742122" sldId="445"/>
            <ac:picMk id="4" creationId="{C2922DD4-7642-6285-49ED-C52600A2BF83}"/>
          </ac:picMkLst>
        </pc:picChg>
      </pc:sldChg>
      <pc:sldChg chg="modSp">
        <pc:chgData name="Rachael Chagnon" userId="S::rachael.chagnon@eqs.com::871bcc3d-b11c-46b6-b535-e388c92a0813" providerId="AD" clId="Web-{62425771-C2CE-4FDA-B795-ADF4B8EE7B89}" dt="2025-06-04T02:43:45.374" v="17" actId="1076"/>
        <pc:sldMkLst>
          <pc:docMk/>
          <pc:sldMk cId="390907759" sldId="447"/>
        </pc:sldMkLst>
        <pc:picChg chg="mod">
          <ac:chgData name="Rachael Chagnon" userId="S::rachael.chagnon@eqs.com::871bcc3d-b11c-46b6-b535-e388c92a0813" providerId="AD" clId="Web-{62425771-C2CE-4FDA-B795-ADF4B8EE7B89}" dt="2025-06-04T02:43:45.374" v="17" actId="1076"/>
          <ac:picMkLst>
            <pc:docMk/>
            <pc:sldMk cId="390907759" sldId="447"/>
            <ac:picMk id="6" creationId="{3B7EF0EC-2D08-D330-8FD1-7D17BCF4FA72}"/>
          </ac:picMkLst>
        </pc:picChg>
      </pc:sldChg>
      <pc:sldChg chg="modSp">
        <pc:chgData name="Rachael Chagnon" userId="S::rachael.chagnon@eqs.com::871bcc3d-b11c-46b6-b535-e388c92a0813" providerId="AD" clId="Web-{62425771-C2CE-4FDA-B795-ADF4B8EE7B89}" dt="2025-06-04T02:43:57.343" v="19" actId="1076"/>
        <pc:sldMkLst>
          <pc:docMk/>
          <pc:sldMk cId="135662831" sldId="451"/>
        </pc:sldMkLst>
        <pc:picChg chg="mod">
          <ac:chgData name="Rachael Chagnon" userId="S::rachael.chagnon@eqs.com::871bcc3d-b11c-46b6-b535-e388c92a0813" providerId="AD" clId="Web-{62425771-C2CE-4FDA-B795-ADF4B8EE7B89}" dt="2025-06-04T02:43:57.343" v="19" actId="1076"/>
          <ac:picMkLst>
            <pc:docMk/>
            <pc:sldMk cId="135662831" sldId="451"/>
            <ac:picMk id="6" creationId="{B7C64997-6F26-2C00-2992-5359DEFDC1CA}"/>
          </ac:picMkLst>
        </pc:picChg>
      </pc:sldChg>
      <pc:sldChg chg="modSp">
        <pc:chgData name="Rachael Chagnon" userId="S::rachael.chagnon@eqs.com::871bcc3d-b11c-46b6-b535-e388c92a0813" providerId="AD" clId="Web-{62425771-C2CE-4FDA-B795-ADF4B8EE7B89}" dt="2025-06-04T02:44:10.515" v="21" actId="1076"/>
        <pc:sldMkLst>
          <pc:docMk/>
          <pc:sldMk cId="2801805947" sldId="452"/>
        </pc:sldMkLst>
        <pc:picChg chg="mod">
          <ac:chgData name="Rachael Chagnon" userId="S::rachael.chagnon@eqs.com::871bcc3d-b11c-46b6-b535-e388c92a0813" providerId="AD" clId="Web-{62425771-C2CE-4FDA-B795-ADF4B8EE7B89}" dt="2025-06-04T02:44:10.515" v="21" actId="1076"/>
          <ac:picMkLst>
            <pc:docMk/>
            <pc:sldMk cId="2801805947" sldId="452"/>
            <ac:picMk id="6" creationId="{16F38ED8-5262-3678-7907-E33C82D9490F}"/>
          </ac:picMkLst>
        </pc:picChg>
      </pc:sldChg>
      <pc:sldChg chg="modSp">
        <pc:chgData name="Rachael Chagnon" userId="S::rachael.chagnon@eqs.com::871bcc3d-b11c-46b6-b535-e388c92a0813" providerId="AD" clId="Web-{62425771-C2CE-4FDA-B795-ADF4B8EE7B89}" dt="2025-06-04T02:44:28.953" v="25" actId="1076"/>
        <pc:sldMkLst>
          <pc:docMk/>
          <pc:sldMk cId="440620725" sldId="453"/>
        </pc:sldMkLst>
        <pc:picChg chg="mod modCrop">
          <ac:chgData name="Rachael Chagnon" userId="S::rachael.chagnon@eqs.com::871bcc3d-b11c-46b6-b535-e388c92a0813" providerId="AD" clId="Web-{62425771-C2CE-4FDA-B795-ADF4B8EE7B89}" dt="2025-06-04T02:44:28.953" v="25" actId="1076"/>
          <ac:picMkLst>
            <pc:docMk/>
            <pc:sldMk cId="440620725" sldId="453"/>
            <ac:picMk id="4" creationId="{8C5AE097-3E72-7DD8-D321-867B444F56CE}"/>
          </ac:picMkLst>
        </pc:picChg>
      </pc:sldChg>
      <pc:sldChg chg="modSp">
        <pc:chgData name="Rachael Chagnon" userId="S::rachael.chagnon@eqs.com::871bcc3d-b11c-46b6-b535-e388c92a0813" providerId="AD" clId="Web-{62425771-C2CE-4FDA-B795-ADF4B8EE7B89}" dt="2025-06-04T02:44:45.719" v="27" actId="1076"/>
        <pc:sldMkLst>
          <pc:docMk/>
          <pc:sldMk cId="1631520439" sldId="455"/>
        </pc:sldMkLst>
        <pc:picChg chg="mod">
          <ac:chgData name="Rachael Chagnon" userId="S::rachael.chagnon@eqs.com::871bcc3d-b11c-46b6-b535-e388c92a0813" providerId="AD" clId="Web-{62425771-C2CE-4FDA-B795-ADF4B8EE7B89}" dt="2025-06-04T02:44:45.719" v="27" actId="1076"/>
          <ac:picMkLst>
            <pc:docMk/>
            <pc:sldMk cId="1631520439" sldId="455"/>
            <ac:picMk id="7" creationId="{357055A6-B43F-7272-5DB3-9665F463E594}"/>
          </ac:picMkLst>
        </pc:picChg>
      </pc:sldChg>
    </pc:docChg>
  </pc:docChgLst>
  <pc:docChgLst>
    <pc:chgData name="Molly Brand" userId="S::molly.brand@eqs.com::b8940fc0-24ea-4b2e-98aa-d86e6a17f272" providerId="AD" clId="Web-{F263B08E-0916-15F4-1195-54A3114780AA}"/>
    <pc:docChg chg="modSld">
      <pc:chgData name="Molly Brand" userId="S::molly.brand@eqs.com::b8940fc0-24ea-4b2e-98aa-d86e6a17f272" providerId="AD" clId="Web-{F263B08E-0916-15F4-1195-54A3114780AA}" dt="2025-05-29T18:53:03.074" v="355" actId="20577"/>
      <pc:docMkLst>
        <pc:docMk/>
      </pc:docMkLst>
      <pc:sldChg chg="modSp">
        <pc:chgData name="Molly Brand" userId="S::molly.brand@eqs.com::b8940fc0-24ea-4b2e-98aa-d86e6a17f272" providerId="AD" clId="Web-{F263B08E-0916-15F4-1195-54A3114780AA}" dt="2025-05-29T18:49:44.255" v="303" actId="20577"/>
        <pc:sldMkLst>
          <pc:docMk/>
          <pc:sldMk cId="1832310471" sldId="265"/>
        </pc:sldMkLst>
        <pc:spChg chg="mod">
          <ac:chgData name="Molly Brand" userId="S::molly.brand@eqs.com::b8940fc0-24ea-4b2e-98aa-d86e6a17f272" providerId="AD" clId="Web-{F263B08E-0916-15F4-1195-54A3114780AA}" dt="2025-05-29T18:49:44.255" v="303" actId="20577"/>
          <ac:spMkLst>
            <pc:docMk/>
            <pc:sldMk cId="1832310471" sldId="265"/>
            <ac:spMk id="3" creationId="{00000000-0000-0000-0000-000000000000}"/>
          </ac:spMkLst>
        </pc:spChg>
      </pc:sldChg>
      <pc:sldChg chg="modSp">
        <pc:chgData name="Molly Brand" userId="S::molly.brand@eqs.com::b8940fc0-24ea-4b2e-98aa-d86e6a17f272" providerId="AD" clId="Web-{F263B08E-0916-15F4-1195-54A3114780AA}" dt="2025-05-29T18:38:49.560" v="158" actId="20577"/>
        <pc:sldMkLst>
          <pc:docMk/>
          <pc:sldMk cId="3763710424" sldId="266"/>
        </pc:sldMkLst>
        <pc:spChg chg="mod">
          <ac:chgData name="Molly Brand" userId="S::molly.brand@eqs.com::b8940fc0-24ea-4b2e-98aa-d86e6a17f272" providerId="AD" clId="Web-{F263B08E-0916-15F4-1195-54A3114780AA}" dt="2025-05-29T18:38:49.560" v="158" actId="20577"/>
          <ac:spMkLst>
            <pc:docMk/>
            <pc:sldMk cId="3763710424" sldId="266"/>
            <ac:spMk id="3" creationId="{00000000-0000-0000-0000-000000000000}"/>
          </ac:spMkLst>
        </pc:spChg>
        <pc:picChg chg="mod">
          <ac:chgData name="Molly Brand" userId="S::molly.brand@eqs.com::b8940fc0-24ea-4b2e-98aa-d86e6a17f272" providerId="AD" clId="Web-{F263B08E-0916-15F4-1195-54A3114780AA}" dt="2025-05-29T18:34:11.582" v="0"/>
          <ac:picMkLst>
            <pc:docMk/>
            <pc:sldMk cId="3763710424" sldId="266"/>
            <ac:picMk id="29" creationId="{B0C87A08-D104-7429-6196-1949FBC313CA}"/>
          </ac:picMkLst>
        </pc:picChg>
      </pc:sldChg>
      <pc:sldChg chg="modSp">
        <pc:chgData name="Molly Brand" userId="S::molly.brand@eqs.com::b8940fc0-24ea-4b2e-98aa-d86e6a17f272" providerId="AD" clId="Web-{F263B08E-0916-15F4-1195-54A3114780AA}" dt="2025-05-29T18:34:53.052" v="33" actId="20577"/>
        <pc:sldMkLst>
          <pc:docMk/>
          <pc:sldMk cId="2006081962" sldId="276"/>
        </pc:sldMkLst>
        <pc:spChg chg="mod">
          <ac:chgData name="Molly Brand" userId="S::molly.brand@eqs.com::b8940fc0-24ea-4b2e-98aa-d86e6a17f272" providerId="AD" clId="Web-{F263B08E-0916-15F4-1195-54A3114780AA}" dt="2025-05-29T18:34:53.052" v="33" actId="20577"/>
          <ac:spMkLst>
            <pc:docMk/>
            <pc:sldMk cId="2006081962" sldId="276"/>
            <ac:spMk id="5" creationId="{00000000-0000-0000-0000-000000000000}"/>
          </ac:spMkLst>
        </pc:spChg>
      </pc:sldChg>
      <pc:sldChg chg="modSp">
        <pc:chgData name="Molly Brand" userId="S::molly.brand@eqs.com::b8940fc0-24ea-4b2e-98aa-d86e6a17f272" providerId="AD" clId="Web-{F263B08E-0916-15F4-1195-54A3114780AA}" dt="2025-05-29T18:44:54.198" v="193" actId="20577"/>
        <pc:sldMkLst>
          <pc:docMk/>
          <pc:sldMk cId="1778359718" sldId="278"/>
        </pc:sldMkLst>
        <pc:spChg chg="mod">
          <ac:chgData name="Molly Brand" userId="S::molly.brand@eqs.com::b8940fc0-24ea-4b2e-98aa-d86e6a17f272" providerId="AD" clId="Web-{F263B08E-0916-15F4-1195-54A3114780AA}" dt="2025-05-29T18:44:54.198" v="193" actId="20577"/>
          <ac:spMkLst>
            <pc:docMk/>
            <pc:sldMk cId="1778359718" sldId="278"/>
            <ac:spMk id="2" creationId="{00000000-0000-0000-0000-000000000000}"/>
          </ac:spMkLst>
        </pc:spChg>
        <pc:picChg chg="mod">
          <ac:chgData name="Molly Brand" userId="S::molly.brand@eqs.com::b8940fc0-24ea-4b2e-98aa-d86e6a17f272" providerId="AD" clId="Web-{F263B08E-0916-15F4-1195-54A3114780AA}" dt="2025-05-29T18:44:30.697" v="191"/>
          <ac:picMkLst>
            <pc:docMk/>
            <pc:sldMk cId="1778359718" sldId="278"/>
            <ac:picMk id="10" creationId="{4739C6BC-B59F-2DEF-2730-EAF317F5D13E}"/>
          </ac:picMkLst>
        </pc:picChg>
      </pc:sldChg>
      <pc:sldChg chg="modSp">
        <pc:chgData name="Molly Brand" userId="S::molly.brand@eqs.com::b8940fc0-24ea-4b2e-98aa-d86e6a17f272" providerId="AD" clId="Web-{F263B08E-0916-15F4-1195-54A3114780AA}" dt="2025-05-29T18:38:23.934" v="157" actId="20577"/>
        <pc:sldMkLst>
          <pc:docMk/>
          <pc:sldMk cId="3585255188" sldId="328"/>
        </pc:sldMkLst>
        <pc:spChg chg="mod">
          <ac:chgData name="Molly Brand" userId="S::molly.brand@eqs.com::b8940fc0-24ea-4b2e-98aa-d86e6a17f272" providerId="AD" clId="Web-{F263B08E-0916-15F4-1195-54A3114780AA}" dt="2025-05-29T18:38:23.934" v="157" actId="20577"/>
          <ac:spMkLst>
            <pc:docMk/>
            <pc:sldMk cId="3585255188" sldId="328"/>
            <ac:spMk id="2" creationId="{00000000-0000-0000-0000-000000000000}"/>
          </ac:spMkLst>
        </pc:spChg>
        <pc:spChg chg="mod">
          <ac:chgData name="Molly Brand" userId="S::molly.brand@eqs.com::b8940fc0-24ea-4b2e-98aa-d86e6a17f272" providerId="AD" clId="Web-{F263B08E-0916-15F4-1195-54A3114780AA}" dt="2025-05-29T18:36:14.336" v="46" actId="20577"/>
          <ac:spMkLst>
            <pc:docMk/>
            <pc:sldMk cId="3585255188" sldId="328"/>
            <ac:spMk id="12" creationId="{00000000-0000-0000-0000-000000000000}"/>
          </ac:spMkLst>
        </pc:spChg>
        <pc:picChg chg="mod">
          <ac:chgData name="Molly Brand" userId="S::molly.brand@eqs.com::b8940fc0-24ea-4b2e-98aa-d86e6a17f272" providerId="AD" clId="Web-{F263B08E-0916-15F4-1195-54A3114780AA}" dt="2025-05-29T18:38:05.027" v="113" actId="1076"/>
          <ac:picMkLst>
            <pc:docMk/>
            <pc:sldMk cId="3585255188" sldId="328"/>
            <ac:picMk id="9" creationId="{0AAA6891-E847-D531-FB84-F8E2B9A9DA8D}"/>
          </ac:picMkLst>
        </pc:picChg>
      </pc:sldChg>
      <pc:sldChg chg="modSp">
        <pc:chgData name="Molly Brand" userId="S::molly.brand@eqs.com::b8940fc0-24ea-4b2e-98aa-d86e6a17f272" providerId="AD" clId="Web-{F263B08E-0916-15F4-1195-54A3114780AA}" dt="2025-05-29T18:41:43.910" v="190" actId="1076"/>
        <pc:sldMkLst>
          <pc:docMk/>
          <pc:sldMk cId="2489747919" sldId="335"/>
        </pc:sldMkLst>
        <pc:spChg chg="mod">
          <ac:chgData name="Molly Brand" userId="S::molly.brand@eqs.com::b8940fc0-24ea-4b2e-98aa-d86e6a17f272" providerId="AD" clId="Web-{F263B08E-0916-15F4-1195-54A3114780AA}" dt="2025-05-29T18:41:43.910" v="190" actId="1076"/>
          <ac:spMkLst>
            <pc:docMk/>
            <pc:sldMk cId="2489747919" sldId="335"/>
            <ac:spMk id="3" creationId="{AE1E2D1F-149F-2CA7-78FE-2BFC8C474763}"/>
          </ac:spMkLst>
        </pc:spChg>
        <pc:spChg chg="mod">
          <ac:chgData name="Molly Brand" userId="S::molly.brand@eqs.com::b8940fc0-24ea-4b2e-98aa-d86e6a17f272" providerId="AD" clId="Web-{F263B08E-0916-15F4-1195-54A3114780AA}" dt="2025-05-29T18:40:13.985" v="163" actId="1076"/>
          <ac:spMkLst>
            <pc:docMk/>
            <pc:sldMk cId="2489747919" sldId="335"/>
            <ac:spMk id="6" creationId="{73D56BCE-1616-33A7-C4DE-D883B306A145}"/>
          </ac:spMkLst>
        </pc:spChg>
        <pc:spChg chg="mod">
          <ac:chgData name="Molly Brand" userId="S::molly.brand@eqs.com::b8940fc0-24ea-4b2e-98aa-d86e6a17f272" providerId="AD" clId="Web-{F263B08E-0916-15F4-1195-54A3114780AA}" dt="2025-05-29T18:41:36.191" v="181" actId="1076"/>
          <ac:spMkLst>
            <pc:docMk/>
            <pc:sldMk cId="2489747919" sldId="335"/>
            <ac:spMk id="8" creationId="{200E1F25-F014-0DEF-808D-07BD930C105E}"/>
          </ac:spMkLst>
        </pc:spChg>
        <pc:spChg chg="mod">
          <ac:chgData name="Molly Brand" userId="S::molly.brand@eqs.com::b8940fc0-24ea-4b2e-98aa-d86e6a17f272" providerId="AD" clId="Web-{F263B08E-0916-15F4-1195-54A3114780AA}" dt="2025-05-29T18:41:36.207" v="182" actId="1076"/>
          <ac:spMkLst>
            <pc:docMk/>
            <pc:sldMk cId="2489747919" sldId="335"/>
            <ac:spMk id="9" creationId="{EE0AC3CA-068B-3654-BBDF-85F192E6FE1B}"/>
          </ac:spMkLst>
        </pc:spChg>
        <pc:spChg chg="mod">
          <ac:chgData name="Molly Brand" userId="S::molly.brand@eqs.com::b8940fc0-24ea-4b2e-98aa-d86e6a17f272" providerId="AD" clId="Web-{F263B08E-0916-15F4-1195-54A3114780AA}" dt="2025-05-29T18:41:36.238" v="183" actId="1076"/>
          <ac:spMkLst>
            <pc:docMk/>
            <pc:sldMk cId="2489747919" sldId="335"/>
            <ac:spMk id="10" creationId="{ED9EC9CB-1B20-4978-851F-1BAB2D54082B}"/>
          </ac:spMkLst>
        </pc:spChg>
        <pc:spChg chg="mod">
          <ac:chgData name="Molly Brand" userId="S::molly.brand@eqs.com::b8940fc0-24ea-4b2e-98aa-d86e6a17f272" providerId="AD" clId="Web-{F263B08E-0916-15F4-1195-54A3114780AA}" dt="2025-05-29T18:41:36.253" v="184" actId="1076"/>
          <ac:spMkLst>
            <pc:docMk/>
            <pc:sldMk cId="2489747919" sldId="335"/>
            <ac:spMk id="11" creationId="{45564146-775F-7D6F-07FD-F9EE0A95F037}"/>
          </ac:spMkLst>
        </pc:spChg>
        <pc:spChg chg="mod">
          <ac:chgData name="Molly Brand" userId="S::molly.brand@eqs.com::b8940fc0-24ea-4b2e-98aa-d86e6a17f272" providerId="AD" clId="Web-{F263B08E-0916-15F4-1195-54A3114780AA}" dt="2025-05-29T18:41:36.269" v="185" actId="1076"/>
          <ac:spMkLst>
            <pc:docMk/>
            <pc:sldMk cId="2489747919" sldId="335"/>
            <ac:spMk id="12" creationId="{16CCFEE4-AAC6-736F-6E4E-EBD3D960BDA4}"/>
          </ac:spMkLst>
        </pc:spChg>
        <pc:spChg chg="mod">
          <ac:chgData name="Molly Brand" userId="S::molly.brand@eqs.com::b8940fc0-24ea-4b2e-98aa-d86e6a17f272" providerId="AD" clId="Web-{F263B08E-0916-15F4-1195-54A3114780AA}" dt="2025-05-29T18:41:36.285" v="186" actId="1076"/>
          <ac:spMkLst>
            <pc:docMk/>
            <pc:sldMk cId="2489747919" sldId="335"/>
            <ac:spMk id="13" creationId="{38092D30-F193-6262-7549-C4C31CF061DC}"/>
          </ac:spMkLst>
        </pc:spChg>
        <pc:picChg chg="mod">
          <ac:chgData name="Molly Brand" userId="S::molly.brand@eqs.com::b8940fc0-24ea-4b2e-98aa-d86e6a17f272" providerId="AD" clId="Web-{F263B08E-0916-15F4-1195-54A3114780AA}" dt="2025-05-29T18:41:36.300" v="187" actId="1076"/>
          <ac:picMkLst>
            <pc:docMk/>
            <pc:sldMk cId="2489747919" sldId="335"/>
            <ac:picMk id="4" creationId="{524BFB6B-4E94-EF40-421D-5740CB44FEDE}"/>
          </ac:picMkLst>
        </pc:picChg>
        <pc:picChg chg="mod">
          <ac:chgData name="Molly Brand" userId="S::molly.brand@eqs.com::b8940fc0-24ea-4b2e-98aa-d86e6a17f272" providerId="AD" clId="Web-{F263B08E-0916-15F4-1195-54A3114780AA}" dt="2025-05-29T18:41:36.316" v="188" actId="1076"/>
          <ac:picMkLst>
            <pc:docMk/>
            <pc:sldMk cId="2489747919" sldId="335"/>
            <ac:picMk id="14" creationId="{D0F9E2DD-0761-B1AF-F600-497B4D3E3F1B}"/>
          </ac:picMkLst>
        </pc:picChg>
        <pc:picChg chg="mod">
          <ac:chgData name="Molly Brand" userId="S::molly.brand@eqs.com::b8940fc0-24ea-4b2e-98aa-d86e6a17f272" providerId="AD" clId="Web-{F263B08E-0916-15F4-1195-54A3114780AA}" dt="2025-05-29T18:41:36.332" v="189" actId="1076"/>
          <ac:picMkLst>
            <pc:docMk/>
            <pc:sldMk cId="2489747919" sldId="335"/>
            <ac:picMk id="15" creationId="{5D2D57F4-B66D-EA76-5E6E-8DC54C9BC432}"/>
          </ac:picMkLst>
        </pc:picChg>
      </pc:sldChg>
      <pc:sldChg chg="modSp">
        <pc:chgData name="Molly Brand" userId="S::molly.brand@eqs.com::b8940fc0-24ea-4b2e-98aa-d86e6a17f272" providerId="AD" clId="Web-{F263B08E-0916-15F4-1195-54A3114780AA}" dt="2025-05-29T18:34:50.786" v="31" actId="20577"/>
        <pc:sldMkLst>
          <pc:docMk/>
          <pc:sldMk cId="4028648865" sldId="413"/>
        </pc:sldMkLst>
        <pc:spChg chg="mod">
          <ac:chgData name="Molly Brand" userId="S::molly.brand@eqs.com::b8940fc0-24ea-4b2e-98aa-d86e6a17f272" providerId="AD" clId="Web-{F263B08E-0916-15F4-1195-54A3114780AA}" dt="2025-05-29T18:34:50.786" v="31" actId="20577"/>
          <ac:spMkLst>
            <pc:docMk/>
            <pc:sldMk cId="4028648865" sldId="413"/>
            <ac:spMk id="3" creationId="{98F03678-D454-B81E-479A-D60A0AD9A0F6}"/>
          </ac:spMkLst>
        </pc:spChg>
      </pc:sldChg>
      <pc:sldChg chg="modSp">
        <pc:chgData name="Molly Brand" userId="S::molly.brand@eqs.com::b8940fc0-24ea-4b2e-98aa-d86e6a17f272" providerId="AD" clId="Web-{F263B08E-0916-15F4-1195-54A3114780AA}" dt="2025-05-29T18:37:20.385" v="95" actId="20577"/>
        <pc:sldMkLst>
          <pc:docMk/>
          <pc:sldMk cId="2267074320" sldId="419"/>
        </pc:sldMkLst>
        <pc:spChg chg="mod">
          <ac:chgData name="Molly Brand" userId="S::molly.brand@eqs.com::b8940fc0-24ea-4b2e-98aa-d86e6a17f272" providerId="AD" clId="Web-{F263B08E-0916-15F4-1195-54A3114780AA}" dt="2025-05-29T18:37:20.385" v="95" actId="20577"/>
          <ac:spMkLst>
            <pc:docMk/>
            <pc:sldMk cId="2267074320" sldId="419"/>
            <ac:spMk id="2" creationId="{4EDC6C8D-1AE7-7C39-4856-4C07BF07746D}"/>
          </ac:spMkLst>
        </pc:spChg>
        <pc:spChg chg="mod">
          <ac:chgData name="Molly Brand" userId="S::molly.brand@eqs.com::b8940fc0-24ea-4b2e-98aa-d86e6a17f272" providerId="AD" clId="Web-{F263B08E-0916-15F4-1195-54A3114780AA}" dt="2025-05-29T18:36:07.398" v="36" actId="20577"/>
          <ac:spMkLst>
            <pc:docMk/>
            <pc:sldMk cId="2267074320" sldId="419"/>
            <ac:spMk id="12" creationId="{3F7DB817-8A85-2616-5D1B-FF9EAC8F1A95}"/>
          </ac:spMkLst>
        </pc:spChg>
      </pc:sldChg>
      <pc:sldChg chg="modSp">
        <pc:chgData name="Molly Brand" userId="S::molly.brand@eqs.com::b8940fc0-24ea-4b2e-98aa-d86e6a17f272" providerId="AD" clId="Web-{F263B08E-0916-15F4-1195-54A3114780AA}" dt="2025-05-29T18:44:50.432" v="192" actId="20577"/>
        <pc:sldMkLst>
          <pc:docMk/>
          <pc:sldMk cId="3351970996" sldId="420"/>
        </pc:sldMkLst>
        <pc:spChg chg="mod">
          <ac:chgData name="Molly Brand" userId="S::molly.brand@eqs.com::b8940fc0-24ea-4b2e-98aa-d86e6a17f272" providerId="AD" clId="Web-{F263B08E-0916-15F4-1195-54A3114780AA}" dt="2025-05-29T18:44:50.432" v="192" actId="20577"/>
          <ac:spMkLst>
            <pc:docMk/>
            <pc:sldMk cId="3351970996" sldId="420"/>
            <ac:spMk id="2" creationId="{083C4ED0-AF78-A494-3CDF-F337FF717341}"/>
          </ac:spMkLst>
        </pc:spChg>
      </pc:sldChg>
      <pc:sldChg chg="modSp">
        <pc:chgData name="Molly Brand" userId="S::molly.brand@eqs.com::b8940fc0-24ea-4b2e-98aa-d86e6a17f272" providerId="AD" clId="Web-{F263B08E-0916-15F4-1195-54A3114780AA}" dt="2025-05-29T18:46:08.841" v="212" actId="20577"/>
        <pc:sldMkLst>
          <pc:docMk/>
          <pc:sldMk cId="1840286883" sldId="422"/>
        </pc:sldMkLst>
        <pc:spChg chg="mod">
          <ac:chgData name="Molly Brand" userId="S::molly.brand@eqs.com::b8940fc0-24ea-4b2e-98aa-d86e6a17f272" providerId="AD" clId="Web-{F263B08E-0916-15F4-1195-54A3114780AA}" dt="2025-05-29T18:46:08.841" v="212" actId="20577"/>
          <ac:spMkLst>
            <pc:docMk/>
            <pc:sldMk cId="1840286883" sldId="422"/>
            <ac:spMk id="2" creationId="{7A58EC61-75FA-C116-4594-AABF5F4E8A91}"/>
          </ac:spMkLst>
        </pc:spChg>
      </pc:sldChg>
      <pc:sldChg chg="modSp">
        <pc:chgData name="Molly Brand" userId="S::molly.brand@eqs.com::b8940fc0-24ea-4b2e-98aa-d86e6a17f272" providerId="AD" clId="Web-{F263B08E-0916-15F4-1195-54A3114780AA}" dt="2025-05-29T18:48:18.736" v="273" actId="20577"/>
        <pc:sldMkLst>
          <pc:docMk/>
          <pc:sldMk cId="485422013" sldId="425"/>
        </pc:sldMkLst>
        <pc:spChg chg="mod">
          <ac:chgData name="Molly Brand" userId="S::molly.brand@eqs.com::b8940fc0-24ea-4b2e-98aa-d86e6a17f272" providerId="AD" clId="Web-{F263B08E-0916-15F4-1195-54A3114780AA}" dt="2025-05-29T18:48:18.736" v="273" actId="20577"/>
          <ac:spMkLst>
            <pc:docMk/>
            <pc:sldMk cId="485422013" sldId="425"/>
            <ac:spMk id="2" creationId="{D89C4B50-546E-537F-6E3A-ED763BB03637}"/>
          </ac:spMkLst>
        </pc:spChg>
      </pc:sldChg>
      <pc:sldChg chg="modSp">
        <pc:chgData name="Molly Brand" userId="S::molly.brand@eqs.com::b8940fc0-24ea-4b2e-98aa-d86e6a17f272" providerId="AD" clId="Web-{F263B08E-0916-15F4-1195-54A3114780AA}" dt="2025-05-29T18:48:53.581" v="274" actId="20577"/>
        <pc:sldMkLst>
          <pc:docMk/>
          <pc:sldMk cId="3756425495" sldId="426"/>
        </pc:sldMkLst>
        <pc:spChg chg="mod">
          <ac:chgData name="Molly Brand" userId="S::molly.brand@eqs.com::b8940fc0-24ea-4b2e-98aa-d86e6a17f272" providerId="AD" clId="Web-{F263B08E-0916-15F4-1195-54A3114780AA}" dt="2025-05-29T18:48:53.581" v="274" actId="20577"/>
          <ac:spMkLst>
            <pc:docMk/>
            <pc:sldMk cId="3756425495" sldId="426"/>
            <ac:spMk id="2" creationId="{8C22CD97-596C-EE30-9113-900C5E74606D}"/>
          </ac:spMkLst>
        </pc:spChg>
      </pc:sldChg>
      <pc:sldChg chg="modSp">
        <pc:chgData name="Molly Brand" userId="S::molly.brand@eqs.com::b8940fc0-24ea-4b2e-98aa-d86e6a17f272" providerId="AD" clId="Web-{F263B08E-0916-15F4-1195-54A3114780AA}" dt="2025-05-29T18:50:49.414" v="321" actId="20577"/>
        <pc:sldMkLst>
          <pc:docMk/>
          <pc:sldMk cId="4119254558" sldId="427"/>
        </pc:sldMkLst>
        <pc:spChg chg="mod">
          <ac:chgData name="Molly Brand" userId="S::molly.brand@eqs.com::b8940fc0-24ea-4b2e-98aa-d86e6a17f272" providerId="AD" clId="Web-{F263B08E-0916-15F4-1195-54A3114780AA}" dt="2025-05-29T18:50:49.414" v="321" actId="20577"/>
          <ac:spMkLst>
            <pc:docMk/>
            <pc:sldMk cId="4119254558" sldId="427"/>
            <ac:spMk id="2" creationId="{DDEBD977-F63B-6496-FAC4-C30C0013CED5}"/>
          </ac:spMkLst>
        </pc:spChg>
      </pc:sldChg>
      <pc:sldChg chg="modSp modCm">
        <pc:chgData name="Molly Brand" userId="S::molly.brand@eqs.com::b8940fc0-24ea-4b2e-98aa-d86e6a17f272" providerId="AD" clId="Web-{F263B08E-0916-15F4-1195-54A3114780AA}" dt="2025-05-29T18:47:25.094" v="268" actId="20577"/>
        <pc:sldMkLst>
          <pc:docMk/>
          <pc:sldMk cId="2720251488" sldId="431"/>
        </pc:sldMkLst>
        <pc:spChg chg="mod">
          <ac:chgData name="Molly Brand" userId="S::molly.brand@eqs.com::b8940fc0-24ea-4b2e-98aa-d86e6a17f272" providerId="AD" clId="Web-{F263B08E-0916-15F4-1195-54A3114780AA}" dt="2025-05-29T18:47:25.094" v="268" actId="20577"/>
          <ac:spMkLst>
            <pc:docMk/>
            <pc:sldMk cId="2720251488" sldId="431"/>
            <ac:spMk id="2" creationId="{38B913F4-4BFB-6E8E-6606-685D7136AD2A}"/>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F263B08E-0916-15F4-1195-54A3114780AA}" dt="2025-05-29T18:47:19.797" v="267" actId="20577"/>
              <pc2:cmMkLst xmlns:pc2="http://schemas.microsoft.com/office/powerpoint/2019/9/main/command">
                <pc:docMk/>
                <pc:sldMk cId="2720251488" sldId="431"/>
                <pc2:cmMk id="{D4132A44-B5D3-C14D-B328-AD477918B251}"/>
              </pc2:cmMkLst>
            </pc226:cmChg>
          </p:ext>
        </pc:extLst>
      </pc:sldChg>
      <pc:sldChg chg="modSp">
        <pc:chgData name="Molly Brand" userId="S::molly.brand@eqs.com::b8940fc0-24ea-4b2e-98aa-d86e6a17f272" providerId="AD" clId="Web-{F263B08E-0916-15F4-1195-54A3114780AA}" dt="2025-05-29T18:51:55.728" v="332" actId="20577"/>
        <pc:sldMkLst>
          <pc:docMk/>
          <pc:sldMk cId="3385669951" sldId="432"/>
        </pc:sldMkLst>
        <pc:spChg chg="mod">
          <ac:chgData name="Molly Brand" userId="S::molly.brand@eqs.com::b8940fc0-24ea-4b2e-98aa-d86e6a17f272" providerId="AD" clId="Web-{F263B08E-0916-15F4-1195-54A3114780AA}" dt="2025-05-29T18:51:55.728" v="332" actId="20577"/>
          <ac:spMkLst>
            <pc:docMk/>
            <pc:sldMk cId="3385669951" sldId="432"/>
            <ac:spMk id="2" creationId="{93A8F55A-6D90-74A0-FB36-ED6CE13E0773}"/>
          </ac:spMkLst>
        </pc:spChg>
      </pc:sldChg>
      <pc:sldChg chg="modSp">
        <pc:chgData name="Molly Brand" userId="S::molly.brand@eqs.com::b8940fc0-24ea-4b2e-98aa-d86e6a17f272" providerId="AD" clId="Web-{F263B08E-0916-15F4-1195-54A3114780AA}" dt="2025-05-29T18:53:03.074" v="355" actId="20577"/>
        <pc:sldMkLst>
          <pc:docMk/>
          <pc:sldMk cId="523533609" sldId="434"/>
        </pc:sldMkLst>
        <pc:spChg chg="mod">
          <ac:chgData name="Molly Brand" userId="S::molly.brand@eqs.com::b8940fc0-24ea-4b2e-98aa-d86e6a17f272" providerId="AD" clId="Web-{F263B08E-0916-15F4-1195-54A3114780AA}" dt="2025-05-29T18:53:03.074" v="355" actId="20577"/>
          <ac:spMkLst>
            <pc:docMk/>
            <pc:sldMk cId="523533609" sldId="434"/>
            <ac:spMk id="2" creationId="{1A8ACEE1-588F-D89D-B984-611E3725B0CF}"/>
          </ac:spMkLst>
        </pc:spChg>
      </pc:sldChg>
      <pc:sldChg chg="modSp">
        <pc:chgData name="Molly Brand" userId="S::molly.brand@eqs.com::b8940fc0-24ea-4b2e-98aa-d86e6a17f272" providerId="AD" clId="Web-{F263B08E-0916-15F4-1195-54A3114780AA}" dt="2025-05-29T18:51:31.399" v="326" actId="20577"/>
        <pc:sldMkLst>
          <pc:docMk/>
          <pc:sldMk cId="3001188693" sldId="435"/>
        </pc:sldMkLst>
        <pc:spChg chg="mod">
          <ac:chgData name="Molly Brand" userId="S::molly.brand@eqs.com::b8940fc0-24ea-4b2e-98aa-d86e6a17f272" providerId="AD" clId="Web-{F263B08E-0916-15F4-1195-54A3114780AA}" dt="2025-05-29T18:51:31.399" v="326" actId="20577"/>
          <ac:spMkLst>
            <pc:docMk/>
            <pc:sldMk cId="3001188693" sldId="435"/>
            <ac:spMk id="2" creationId="{7D962302-7D47-E2D2-5E44-991D7CE42505}"/>
          </ac:spMkLst>
        </pc:spChg>
      </pc:sldChg>
    </pc:docChg>
  </pc:docChgLst>
</pc:chgInfo>
</file>

<file path=ppt/comments/modernComment_14F_946689CF.xml><?xml version="1.0" encoding="utf-8"?>
<p188:cmLst xmlns:a="http://schemas.openxmlformats.org/drawingml/2006/main" xmlns:r="http://schemas.openxmlformats.org/officeDocument/2006/relationships" xmlns:p188="http://schemas.microsoft.com/office/powerpoint/2018/8/main">
  <p188:cm id="{6BEDAA80-37E9-49EA-88AF-EFF98EE4FB6E}" authorId="{F9B65EEA-2242-6108-A8F9-17F37A6D92C9}" status="resolved" created="2025-05-27T08:36:15.477" complete="100000">
    <pc:sldMkLst xmlns:pc="http://schemas.microsoft.com/office/powerpoint/2013/main/command">
      <pc:docMk/>
      <pc:sldMk cId="2489747919" sldId="335"/>
    </pc:sldMkLst>
    <p188:replyLst>
      <p188:reply id="{002B98E9-4DD9-C749-AB45-0B08C2457D19}" authorId="{5EB0E7EF-BCAA-9E3A-300E-E5D712634654}" created="2025-05-28T13:28:55.448">
        <p188:txBody>
          <a:bodyPr/>
          <a:lstStyle/>
          <a:p>
            <a:r>
              <a:rPr lang="en-US"/>
              <a:t>Noted.  Is this true in Professional or in Enterprise, or both?
</a:t>
            </a:r>
          </a:p>
        </p188:txBody>
      </p188:reply>
      <p188:reply id="{571E0FBD-24F2-4EFC-A939-EA233C0D1C22}" authorId="{4FDEC558-C24D-4D5C-7510-155AF4A99F0D}" created="2025-05-28T13:32:47.952">
        <p188:txBody>
          <a:bodyPr/>
          <a:lstStyle/>
          <a:p>
            <a:r>
              <a:rPr lang="en-GB"/>
              <a:t>Yes I believe so</a:t>
            </a:r>
          </a:p>
        </p188:txBody>
        <p188:extLst>
          <p:ext xmlns:p="http://schemas.openxmlformats.org/presentationml/2006/main" uri="{57CB4572-C831-44C2-8A1C-0ADB6CCDFE69}">
            <p223:reactions xmlns:p223="http://schemas.microsoft.com/office/powerpoint/2022/03/main">
              <p223:rxn type="👍">
                <p223:instance time="2025-05-28T13:59:00.994" authorId="{5EB0E7EF-BCAA-9E3A-300E-E5D712634654}"/>
              </p223:rxn>
            </p223:reactions>
          </p:ext>
        </p188:extLst>
      </p188:reply>
    </p188:replyLst>
    <p188:txBody>
      <a:bodyPr/>
      <a:lstStyle/>
      <a:p>
        <a:r>
          <a:rPr lang="en-GB"/>
          <a:t>May have more than the standard 3 request types</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dirty="0">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dirty="0"/>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6"/>
            <a:r>
              <a:rPr lang="de-DE" dirty="0"/>
              <a:t>7</a:t>
            </a:r>
          </a:p>
          <a:p>
            <a:pPr lvl="7"/>
            <a:r>
              <a:rPr lang="de-DE" dirty="0"/>
              <a:t>8</a:t>
            </a:r>
          </a:p>
          <a:p>
            <a:pPr lvl="8"/>
            <a:r>
              <a:rPr lang="de-DE" dirty="0"/>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dirty="0"/>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dirty="0"/>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86825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73F69-AB79-4D4F-C3B5-DDBC51B329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8FA596-35AC-9D3B-5EC3-A5DE536B6F5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192287F-68BD-369C-E1E4-36A624A155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844860A-7727-CB7F-65CC-937B4A08185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dirty="0"/>
          </a:p>
        </p:txBody>
      </p:sp>
      <p:sp>
        <p:nvSpPr>
          <p:cNvPr id="5" name="Footer Placeholder 4">
            <a:extLst>
              <a:ext uri="{FF2B5EF4-FFF2-40B4-BE49-F238E27FC236}">
                <a16:creationId xmlns:a16="http://schemas.microsoft.com/office/drawing/2014/main" id="{31A40786-1B9A-09DE-0551-18AB223E7B96}"/>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7251257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A8485-1D79-F579-9839-5F8C19C73A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9274D4-0415-FCD4-7B07-91F626D0FA4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FE59E54-3AAD-6EE5-821A-F004319C96E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8884A4-DBB1-F2EF-B814-7C2B8768C8D2}"/>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dirty="0"/>
          </a:p>
        </p:txBody>
      </p:sp>
      <p:sp>
        <p:nvSpPr>
          <p:cNvPr id="5" name="Footer Placeholder 4">
            <a:extLst>
              <a:ext uri="{FF2B5EF4-FFF2-40B4-BE49-F238E27FC236}">
                <a16:creationId xmlns:a16="http://schemas.microsoft.com/office/drawing/2014/main" id="{848ED18C-796A-6E20-CA09-66DF89509C56}"/>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55238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3AFFE6-3627-AA00-5771-ABEFD582B7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105CE2-68D3-EDC9-B0A8-EB12C89B910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5A7282A-6421-FDA9-03BA-5CEB2FC659D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D111AC3-2641-E8D8-6BFD-35D29AC62E1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dirty="0"/>
          </a:p>
        </p:txBody>
      </p:sp>
      <p:sp>
        <p:nvSpPr>
          <p:cNvPr id="5" name="Footer Placeholder 4">
            <a:extLst>
              <a:ext uri="{FF2B5EF4-FFF2-40B4-BE49-F238E27FC236}">
                <a16:creationId xmlns:a16="http://schemas.microsoft.com/office/drawing/2014/main" id="{793D5D40-20F4-6AD0-8E56-9326041C0606}"/>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630798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6DBAC-2F6D-2316-C733-5DC6A1D7D0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3E9EAD-BE85-5BAD-D235-56300F2093C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A864F3A-AEBE-5291-E78E-61A46F7034B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CDC0EC0-A640-FA9C-049E-F842EFC19EE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dirty="0"/>
          </a:p>
        </p:txBody>
      </p:sp>
      <p:sp>
        <p:nvSpPr>
          <p:cNvPr id="5" name="Footer Placeholder 4">
            <a:extLst>
              <a:ext uri="{FF2B5EF4-FFF2-40B4-BE49-F238E27FC236}">
                <a16:creationId xmlns:a16="http://schemas.microsoft.com/office/drawing/2014/main" id="{9BAB4581-B2D2-DB45-5914-427AE0FB855A}"/>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041527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870490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5CD50-2A38-6208-A72C-CD4523E732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F55C9E-4EB9-60B0-2807-E8F6B68ADDC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05828F4-EB90-7D95-0CD0-53E06CD0E1D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3F7A89-8A9A-3DE2-6417-E9C73391515B}"/>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dirty="0"/>
          </a:p>
        </p:txBody>
      </p:sp>
      <p:sp>
        <p:nvSpPr>
          <p:cNvPr id="5" name="Footer Placeholder 4">
            <a:extLst>
              <a:ext uri="{FF2B5EF4-FFF2-40B4-BE49-F238E27FC236}">
                <a16:creationId xmlns:a16="http://schemas.microsoft.com/office/drawing/2014/main" id="{684EC2A7-3933-0B18-6520-2F8EEB65BF54}"/>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952504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59C22C-B027-EB3C-EBFB-8B48CB44B0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EEA106-1D55-4BC9-4DCD-A987D5022A6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F408045-C35D-83A1-8980-1165A22BC71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0E52D7-4D8F-6E05-CA57-4613C22CFA1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dirty="0"/>
          </a:p>
        </p:txBody>
      </p:sp>
      <p:sp>
        <p:nvSpPr>
          <p:cNvPr id="5" name="Footer Placeholder 4">
            <a:extLst>
              <a:ext uri="{FF2B5EF4-FFF2-40B4-BE49-F238E27FC236}">
                <a16:creationId xmlns:a16="http://schemas.microsoft.com/office/drawing/2014/main" id="{EA7E4375-0AC9-9D2A-9BBE-5EB02B07746C}"/>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900638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8</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87413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A5CAB-9C27-A701-7231-799C8B5AE7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404C22-A172-5FAA-2B95-66F9501C005D}"/>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4107F9B-F9B9-2B2D-8223-F0253EF41C0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CA7628E-501F-949E-9866-6CD45374780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0</a:t>
            </a:fld>
            <a:endParaRPr lang="de-DE" dirty="0"/>
          </a:p>
        </p:txBody>
      </p:sp>
      <p:sp>
        <p:nvSpPr>
          <p:cNvPr id="5" name="Footer Placeholder 4">
            <a:extLst>
              <a:ext uri="{FF2B5EF4-FFF2-40B4-BE49-F238E27FC236}">
                <a16:creationId xmlns:a16="http://schemas.microsoft.com/office/drawing/2014/main" id="{ABC6ADCF-FE97-F24C-3E81-A2FFEDC1D82D}"/>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90377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95898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1</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487201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882679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544BF-CB3B-84AC-F31A-1D7EAAA7C8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4A493D-6EF2-BF06-D324-F33D2D7550C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581D14D-4266-9DCD-1E54-D9214A34B3E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AAB3E15-9E1C-257B-2D5B-87B49287584A}"/>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3</a:t>
            </a:fld>
            <a:endParaRPr lang="de-DE" dirty="0"/>
          </a:p>
        </p:txBody>
      </p:sp>
      <p:sp>
        <p:nvSpPr>
          <p:cNvPr id="5" name="Footer Placeholder 4">
            <a:extLst>
              <a:ext uri="{FF2B5EF4-FFF2-40B4-BE49-F238E27FC236}">
                <a16:creationId xmlns:a16="http://schemas.microsoft.com/office/drawing/2014/main" id="{268F1BD0-5F94-F04E-892E-7C5A557FBF52}"/>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032119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8527F9-AADD-2584-2337-372932D504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5EE23D-6B89-CDE4-7ACD-F483511C88E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D0284B00-01A1-2EDC-6E34-7583EB25DC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6C775E0-1ED2-3DFE-1D38-33669CCDC70C}"/>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4</a:t>
            </a:fld>
            <a:endParaRPr lang="de-DE" dirty="0"/>
          </a:p>
        </p:txBody>
      </p:sp>
      <p:sp>
        <p:nvSpPr>
          <p:cNvPr id="5" name="Footer Placeholder 4">
            <a:extLst>
              <a:ext uri="{FF2B5EF4-FFF2-40B4-BE49-F238E27FC236}">
                <a16:creationId xmlns:a16="http://schemas.microsoft.com/office/drawing/2014/main" id="{08E956F0-A609-702D-9AE5-A583C64B8B71}"/>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9248753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51AAC6-046E-BE0D-2134-3A147316D49C}"/>
            </a:ext>
          </a:extLst>
        </p:cNvPr>
        <p:cNvGrpSpPr/>
        <p:nvPr/>
      </p:nvGrpSpPr>
      <p:grpSpPr>
        <a:xfrm>
          <a:off x="0" y="0"/>
          <a:ext cx="0" cy="0"/>
          <a:chOff x="0" y="0"/>
          <a:chExt cx="0" cy="0"/>
        </a:xfrm>
      </p:grpSpPr>
    </p:spTree>
    <p:extLst>
      <p:ext uri="{BB962C8B-B14F-4D97-AF65-F5344CB8AC3E}">
        <p14:creationId xmlns:p14="http://schemas.microsoft.com/office/powerpoint/2010/main" val="3029616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6</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4705673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93908-0C8D-6780-DFC7-4CD6F12FC66C}"/>
            </a:ext>
          </a:extLst>
        </p:cNvPr>
        <p:cNvGrpSpPr/>
        <p:nvPr/>
      </p:nvGrpSpPr>
      <p:grpSpPr>
        <a:xfrm>
          <a:off x="0" y="0"/>
          <a:ext cx="0" cy="0"/>
          <a:chOff x="0" y="0"/>
          <a:chExt cx="0" cy="0"/>
        </a:xfrm>
      </p:grpSpPr>
    </p:spTree>
    <p:extLst>
      <p:ext uri="{BB962C8B-B14F-4D97-AF65-F5344CB8AC3E}">
        <p14:creationId xmlns:p14="http://schemas.microsoft.com/office/powerpoint/2010/main" val="2215532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8</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086640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766666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361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58362-5733-8B8D-0CB4-FA2FACDF356A}"/>
            </a:ext>
          </a:extLst>
        </p:cNvPr>
        <p:cNvGrpSpPr/>
        <p:nvPr/>
      </p:nvGrpSpPr>
      <p:grpSpPr>
        <a:xfrm>
          <a:off x="0" y="0"/>
          <a:ext cx="0" cy="0"/>
          <a:chOff x="0" y="0"/>
          <a:chExt cx="0" cy="0"/>
        </a:xfrm>
      </p:grpSpPr>
    </p:spTree>
    <p:extLst>
      <p:ext uri="{BB962C8B-B14F-4D97-AF65-F5344CB8AC3E}">
        <p14:creationId xmlns:p14="http://schemas.microsoft.com/office/powerpoint/2010/main" val="1333240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30453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0509A1-C8F8-58A3-7716-349DB6ED71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CFCC53-FA8D-8319-2F08-D8DC77CEB57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9EDE9F74-D960-4310-527A-5C593C0BAE8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1A1E3D-34F4-951A-4235-9BC96F70357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dirty="0"/>
          </a:p>
        </p:txBody>
      </p:sp>
      <p:sp>
        <p:nvSpPr>
          <p:cNvPr id="5" name="Footer Placeholder 4">
            <a:extLst>
              <a:ext uri="{FF2B5EF4-FFF2-40B4-BE49-F238E27FC236}">
                <a16:creationId xmlns:a16="http://schemas.microsoft.com/office/drawing/2014/main" id="{211165EB-EF5B-BD49-AB19-8B3D98059CD4}"/>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698457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dirty="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dirty="0" err="1"/>
              <a:t>Subtitle</a:t>
            </a:r>
            <a:r>
              <a:rPr lang="de-DE" noProof="0" dirty="0"/>
              <a:t> and </a:t>
            </a:r>
            <a:r>
              <a:rPr lang="de-DE" noProof="0" dirty="0" err="1"/>
              <a:t>other</a:t>
            </a:r>
            <a:r>
              <a:rPr lang="de-DE" noProof="0" dirty="0"/>
              <a:t> </a:t>
            </a:r>
            <a:r>
              <a:rPr lang="de-DE" noProof="0" dirty="0" err="1"/>
              <a:t>information</a:t>
            </a:r>
            <a:r>
              <a:rPr lang="de-DE" noProof="0" dirty="0"/>
              <a:t> </a:t>
            </a:r>
            <a:br>
              <a:rPr lang="de-DE" noProof="0" dirty="0"/>
            </a:br>
            <a:r>
              <a:rPr lang="de-DE" noProof="0" dirty="0"/>
              <a:t>Place &amp; Date in </a:t>
            </a:r>
            <a:r>
              <a:rPr lang="de-DE" noProof="0" dirty="0" err="1"/>
              <a:t>second</a:t>
            </a:r>
            <a:r>
              <a:rPr lang="de-DE" noProof="0" dirty="0"/>
              <a:t> </a:t>
            </a:r>
            <a:r>
              <a:rPr lang="de-DE" noProof="0" dirty="0" err="1"/>
              <a:t>text</a:t>
            </a:r>
            <a:r>
              <a:rPr lang="de-DE" noProof="0" dirty="0"/>
              <a:t> </a:t>
            </a:r>
            <a:r>
              <a:rPr lang="de-DE" noProof="0" dirty="0" err="1"/>
              <a:t>level</a:t>
            </a:r>
            <a:endParaRPr lang="de-DE" noProof="0" dirty="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endParaRPr lang="de-DE" dirty="0"/>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dirty="0"/>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endParaRPr lang="de-DE" dirty="0"/>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endParaRPr lang="de-DE" noProof="0" dirty="0"/>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endParaRPr lang="de-DE" noProof="0" dirty="0"/>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endParaRPr lang="de-DE" noProof="0" dirty="0"/>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dirty="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dirty="0" err="1"/>
              <a:t>Subtitle</a:t>
            </a:r>
            <a:r>
              <a:rPr lang="de-DE" noProof="0" dirty="0"/>
              <a:t> and </a:t>
            </a:r>
            <a:r>
              <a:rPr lang="de-DE" noProof="0" dirty="0" err="1"/>
              <a:t>other</a:t>
            </a:r>
            <a:r>
              <a:rPr lang="de-DE" noProof="0" dirty="0"/>
              <a:t> </a:t>
            </a:r>
            <a:r>
              <a:rPr lang="de-DE" noProof="0" dirty="0" err="1"/>
              <a:t>information</a:t>
            </a:r>
            <a:r>
              <a:rPr lang="de-DE" noProof="0" dirty="0"/>
              <a:t> </a:t>
            </a:r>
            <a:br>
              <a:rPr lang="de-DE" noProof="0" dirty="0"/>
            </a:br>
            <a:r>
              <a:rPr lang="de-DE" noProof="0" dirty="0"/>
              <a:t>Place &amp; Date in </a:t>
            </a:r>
            <a:r>
              <a:rPr lang="de-DE" noProof="0" dirty="0" err="1"/>
              <a:t>second</a:t>
            </a:r>
            <a:r>
              <a:rPr lang="de-DE" noProof="0" dirty="0"/>
              <a:t> </a:t>
            </a:r>
            <a:r>
              <a:rPr lang="de-DE" noProof="0" dirty="0" err="1"/>
              <a:t>text</a:t>
            </a:r>
            <a:r>
              <a:rPr lang="de-DE" noProof="0" dirty="0"/>
              <a:t> </a:t>
            </a:r>
            <a:r>
              <a:rPr lang="de-DE" noProof="0" dirty="0" err="1"/>
              <a:t>level</a:t>
            </a:r>
            <a:endParaRPr lang="de-DE" noProof="0" dirty="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dirty="0"/>
              <a:t>Use </a:t>
            </a:r>
            <a:r>
              <a:rPr lang="de-DE" noProof="0" dirty="0" err="1"/>
              <a:t>this</a:t>
            </a:r>
            <a:r>
              <a:rPr lang="de-DE" noProof="0" dirty="0"/>
              <a:t> </a:t>
            </a:r>
            <a:r>
              <a:rPr lang="de-DE" noProof="0" dirty="0" err="1"/>
              <a:t>field</a:t>
            </a:r>
            <a:r>
              <a:rPr lang="de-DE" noProof="0" dirty="0"/>
              <a:t> </a:t>
            </a:r>
            <a:r>
              <a:rPr lang="de-DE" noProof="0" dirty="0" err="1"/>
              <a:t>to</a:t>
            </a:r>
            <a:r>
              <a:rPr lang="de-DE" noProof="0" dirty="0"/>
              <a:t> </a:t>
            </a:r>
            <a:r>
              <a:rPr lang="de-DE" noProof="0" dirty="0" err="1"/>
              <a:t>enter</a:t>
            </a:r>
            <a:r>
              <a:rPr lang="de-DE" noProof="0" dirty="0"/>
              <a:t> </a:t>
            </a:r>
            <a:r>
              <a:rPr lang="de-DE" noProof="0" dirty="0" err="1"/>
              <a:t>text</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a:p>
            <a:pPr lvl="4"/>
            <a:endParaRPr lang="de-DE" noProof="0" dirty="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dirty="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dirty="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dirty="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dirty="0"/>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endParaRPr lang="de-DE" noProof="0" dirty="0"/>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endParaRPr lang="de-DE" dirty="0"/>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dirty="0"/>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endParaRPr lang="de-DE" noProof="0" dirty="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endParaRPr lang="de-DE" dirty="0"/>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endParaRPr lang="de-DE" dirty="0"/>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dirty="0"/>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endParaRPr lang="de-DE" noProof="0" dirty="0"/>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endParaRPr lang="de-DE" dirty="0"/>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dirty="0" err="1"/>
              <a:t>Heading</a:t>
            </a:r>
            <a:r>
              <a:rPr lang="de-DE" dirty="0"/>
              <a:t> (</a:t>
            </a:r>
            <a:r>
              <a:rPr lang="de-DE" dirty="0" err="1"/>
              <a:t>one</a:t>
            </a:r>
            <a:r>
              <a:rPr lang="de-DE" dirty="0"/>
              <a:t> </a:t>
            </a:r>
            <a:r>
              <a:rPr lang="de-DE" dirty="0" err="1"/>
              <a:t>line</a:t>
            </a:r>
            <a:r>
              <a:rPr lang="de-DE" dirty="0"/>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dirty="0"/>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dirty="0"/>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endParaRPr lang="de-DE" noProof="0" dirty="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dirty="0"/>
              <a:t>Title in </a:t>
            </a:r>
            <a:r>
              <a:rPr lang="de-DE" dirty="0" err="1"/>
              <a:t>one</a:t>
            </a:r>
            <a:r>
              <a:rPr lang="de-DE" dirty="0"/>
              <a:t> </a:t>
            </a:r>
            <a:r>
              <a:rPr lang="de-DE" dirty="0" err="1"/>
              <a:t>line</a:t>
            </a:r>
            <a:endParaRPr lang="de-DE" dirty="0"/>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endParaRPr lang="de-DE" dirty="0"/>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endParaRPr lang="de-DE" dirty="0"/>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dirty="0"/>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dirty="0"/>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dirty="0"/>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dirty="0"/>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dirty="0"/>
              <a:t>Closing </a:t>
            </a:r>
            <a:br>
              <a:rPr lang="de-DE" dirty="0"/>
            </a:br>
            <a:r>
              <a:rPr lang="de-DE" dirty="0"/>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endParaRPr lang="de-DE" noProof="0" dirty="0"/>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endParaRPr lang="de-DE" noProof="0" dirty="0"/>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dirty="0"/>
              <a:t>Closing </a:t>
            </a:r>
            <a:br>
              <a:rPr lang="de-DE" dirty="0"/>
            </a:br>
            <a:r>
              <a:rPr lang="de-DE" dirty="0"/>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dirty="0"/>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dirty="0"/>
              <a:t>Closing </a:t>
            </a:r>
            <a:br>
              <a:rPr lang="de-DE" dirty="0"/>
            </a:br>
            <a:r>
              <a:rPr lang="de-DE" dirty="0"/>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dirty="0"/>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dirty="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endParaRPr lang="de-DE" noProof="0" dirty="0"/>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endParaRPr lang="de-DE" dirty="0"/>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dirty="0" err="1"/>
              <a:t>Heading</a:t>
            </a:r>
            <a:r>
              <a:rPr lang="de-DE" dirty="0"/>
              <a:t> (</a:t>
            </a:r>
            <a:r>
              <a:rPr lang="de-DE" dirty="0" err="1"/>
              <a:t>one</a:t>
            </a:r>
            <a:r>
              <a:rPr lang="de-DE" dirty="0"/>
              <a:t> </a:t>
            </a:r>
            <a:r>
              <a:rPr lang="de-DE" dirty="0" err="1"/>
              <a:t>line</a:t>
            </a:r>
            <a:r>
              <a:rPr lang="de-DE" dirty="0"/>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dirty="0"/>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dirty="0" err="1"/>
              <a:t>Chapte</a:t>
            </a:r>
            <a:r>
              <a:rPr lang="de-DE" noProof="0" dirty="0"/>
              <a:t> </a:t>
            </a:r>
            <a:r>
              <a:rPr lang="de-DE" noProof="0" dirty="0" err="1"/>
              <a:t>r</a:t>
            </a:r>
            <a:r>
              <a:rPr lang="de-DE" noProof="0" dirty="0"/>
              <a:t> </a:t>
            </a:r>
            <a:r>
              <a:rPr lang="de-DE" noProof="0" dirty="0" err="1"/>
              <a:t>name</a:t>
            </a:r>
            <a:br>
              <a:rPr lang="de-DE" noProof="0" dirty="0"/>
            </a:br>
            <a:r>
              <a:rPr lang="de-DE" noProof="0" dirty="0"/>
              <a:t> (</a:t>
            </a:r>
            <a:r>
              <a:rPr lang="de-DE" noProof="0" dirty="0" err="1"/>
              <a:t>use</a:t>
            </a:r>
            <a:r>
              <a:rPr lang="de-DE" noProof="0" dirty="0"/>
              <a:t> </a:t>
            </a:r>
            <a:r>
              <a:rPr lang="de-DE" noProof="0" dirty="0" err="1"/>
              <a:t>the</a:t>
            </a:r>
            <a:r>
              <a:rPr lang="de-DE" noProof="0" dirty="0"/>
              <a:t> </a:t>
            </a:r>
            <a:r>
              <a:rPr lang="de-DE" noProof="0" dirty="0" err="1"/>
              <a:t>button</a:t>
            </a:r>
            <a:r>
              <a:rPr lang="de-DE" noProof="0" dirty="0"/>
              <a:t> “</a:t>
            </a:r>
            <a:r>
              <a:rPr lang="de-DE" noProof="0" dirty="0" err="1"/>
              <a:t>increase</a:t>
            </a:r>
            <a:r>
              <a:rPr lang="de-DE" noProof="0" dirty="0"/>
              <a:t> </a:t>
            </a:r>
            <a:r>
              <a:rPr lang="de-DE" noProof="0" dirty="0" err="1"/>
              <a:t>list</a:t>
            </a:r>
            <a:r>
              <a:rPr lang="de-DE" noProof="0" dirty="0"/>
              <a:t> </a:t>
            </a:r>
            <a:r>
              <a:rPr lang="de-DE" noProof="0" dirty="0" err="1"/>
              <a:t>level</a:t>
            </a:r>
            <a:r>
              <a:rPr lang="de-DE" noProof="0" dirty="0"/>
              <a:t>” </a:t>
            </a:r>
            <a:r>
              <a:rPr lang="de-DE" noProof="0" dirty="0" err="1"/>
              <a:t>to</a:t>
            </a:r>
            <a:r>
              <a:rPr lang="de-DE" noProof="0" dirty="0"/>
              <a:t> </a:t>
            </a:r>
            <a:r>
              <a:rPr lang="de-DE" noProof="0" dirty="0" err="1"/>
              <a:t>add</a:t>
            </a:r>
            <a:r>
              <a:rPr lang="de-DE" noProof="0" dirty="0"/>
              <a:t> optional </a:t>
            </a:r>
            <a:r>
              <a:rPr lang="de-DE" noProof="0" dirty="0" err="1"/>
              <a:t>information</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dirty="0"/>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dirty="0" err="1"/>
              <a:t>Chapte</a:t>
            </a:r>
            <a:r>
              <a:rPr lang="de-DE" noProof="0" dirty="0"/>
              <a:t> </a:t>
            </a:r>
            <a:r>
              <a:rPr lang="de-DE" noProof="0" dirty="0" err="1"/>
              <a:t>r</a:t>
            </a:r>
            <a:r>
              <a:rPr lang="de-DE" noProof="0" dirty="0"/>
              <a:t> </a:t>
            </a:r>
            <a:r>
              <a:rPr lang="de-DE" noProof="0" dirty="0" err="1"/>
              <a:t>name</a:t>
            </a:r>
            <a:br>
              <a:rPr lang="de-DE" noProof="0" dirty="0"/>
            </a:br>
            <a:r>
              <a:rPr lang="de-DE" noProof="0" dirty="0"/>
              <a:t> (</a:t>
            </a:r>
            <a:r>
              <a:rPr lang="de-DE" noProof="0" dirty="0" err="1"/>
              <a:t>use</a:t>
            </a:r>
            <a:r>
              <a:rPr lang="de-DE" noProof="0" dirty="0"/>
              <a:t> </a:t>
            </a:r>
            <a:r>
              <a:rPr lang="de-DE" noProof="0" dirty="0" err="1"/>
              <a:t>the</a:t>
            </a:r>
            <a:r>
              <a:rPr lang="de-DE" noProof="0" dirty="0"/>
              <a:t> </a:t>
            </a:r>
            <a:r>
              <a:rPr lang="de-DE" noProof="0" dirty="0" err="1"/>
              <a:t>button</a:t>
            </a:r>
            <a:r>
              <a:rPr lang="de-DE" noProof="0" dirty="0"/>
              <a:t> “</a:t>
            </a:r>
            <a:r>
              <a:rPr lang="de-DE" noProof="0" dirty="0" err="1"/>
              <a:t>increase</a:t>
            </a:r>
            <a:r>
              <a:rPr lang="de-DE" noProof="0" dirty="0"/>
              <a:t> </a:t>
            </a:r>
            <a:r>
              <a:rPr lang="de-DE" noProof="0" dirty="0" err="1"/>
              <a:t>list</a:t>
            </a:r>
            <a:r>
              <a:rPr lang="de-DE" noProof="0" dirty="0"/>
              <a:t> </a:t>
            </a:r>
            <a:r>
              <a:rPr lang="de-DE" noProof="0" dirty="0" err="1"/>
              <a:t>level</a:t>
            </a:r>
            <a:r>
              <a:rPr lang="de-DE" noProof="0" dirty="0"/>
              <a:t>” </a:t>
            </a:r>
            <a:r>
              <a:rPr lang="de-DE" noProof="0" dirty="0" err="1"/>
              <a:t>to</a:t>
            </a:r>
            <a:r>
              <a:rPr lang="de-DE" noProof="0" dirty="0"/>
              <a:t> </a:t>
            </a:r>
            <a:r>
              <a:rPr lang="de-DE" noProof="0" dirty="0" err="1"/>
              <a:t>add</a:t>
            </a:r>
            <a:r>
              <a:rPr lang="de-DE" noProof="0" dirty="0"/>
              <a:t> optional </a:t>
            </a:r>
            <a:r>
              <a:rPr lang="de-DE" noProof="0" dirty="0" err="1"/>
              <a:t>information</a:t>
            </a:r>
            <a:r>
              <a:rPr lang="de-DE" noProof="0" dirty="0"/>
              <a:t>.)</a:t>
            </a:r>
          </a:p>
          <a:p>
            <a:pPr lvl="1"/>
            <a:r>
              <a:rPr lang="de-DE" noProof="0" dirty="0"/>
              <a:t>2. </a:t>
            </a:r>
            <a:r>
              <a:rPr lang="de-DE" noProof="0" dirty="0" err="1"/>
              <a:t>level</a:t>
            </a:r>
            <a:endParaRPr lang="de-DE" noProof="0" dirty="0"/>
          </a:p>
          <a:p>
            <a:pPr lvl="2"/>
            <a:r>
              <a:rPr lang="de-DE" noProof="0" dirty="0"/>
              <a:t>3. </a:t>
            </a:r>
            <a:r>
              <a:rPr lang="de-DE" noProof="0" dirty="0" err="1"/>
              <a:t>level</a:t>
            </a:r>
            <a:endParaRPr lang="de-DE" noProof="0" dirty="0"/>
          </a:p>
          <a:p>
            <a:pPr lvl="3"/>
            <a:r>
              <a:rPr lang="de-DE" noProof="0" dirty="0"/>
              <a:t>4. </a:t>
            </a:r>
            <a:r>
              <a:rPr lang="de-DE" noProof="0" dirty="0" err="1"/>
              <a:t>level</a:t>
            </a:r>
            <a:endParaRPr lang="de-DE" noProof="0" dirty="0"/>
          </a:p>
          <a:p>
            <a:pPr lvl="4"/>
            <a:r>
              <a:rPr lang="de-DE" noProof="0" dirty="0"/>
              <a:t>5. </a:t>
            </a:r>
            <a:r>
              <a:rPr lang="de-DE" noProof="0" dirty="0" err="1"/>
              <a:t>level</a:t>
            </a:r>
            <a:endParaRPr lang="de-DE" noProof="0" dirty="0"/>
          </a:p>
          <a:p>
            <a:pPr lvl="5"/>
            <a:r>
              <a:rPr lang="de-DE" noProof="0" dirty="0"/>
              <a:t>6. </a:t>
            </a:r>
            <a:r>
              <a:rPr lang="de-DE" noProof="0" dirty="0" err="1"/>
              <a:t>level</a:t>
            </a:r>
            <a:endParaRPr lang="de-DE" noProof="0" dirty="0"/>
          </a:p>
          <a:p>
            <a:pPr lvl="6"/>
            <a:r>
              <a:rPr lang="de-DE" noProof="0" dirty="0"/>
              <a:t>7. </a:t>
            </a:r>
            <a:r>
              <a:rPr lang="de-DE" noProof="0" dirty="0" err="1"/>
              <a:t>level</a:t>
            </a:r>
            <a:endParaRPr lang="de-DE" noProof="0" dirty="0"/>
          </a:p>
          <a:p>
            <a:pPr lvl="7"/>
            <a:r>
              <a:rPr lang="de-DE" noProof="0" dirty="0"/>
              <a:t>8. </a:t>
            </a:r>
            <a:r>
              <a:rPr lang="de-DE" noProof="0" dirty="0" err="1"/>
              <a:t>level</a:t>
            </a:r>
            <a:endParaRPr lang="de-DE" noProof="0" dirty="0"/>
          </a:p>
          <a:p>
            <a:pPr lvl="8"/>
            <a:r>
              <a:rPr lang="de-DE" noProof="0" dirty="0"/>
              <a:t>9. </a:t>
            </a:r>
            <a:r>
              <a:rPr lang="de-DE" noProof="0" dirty="0" err="1"/>
              <a:t>level</a:t>
            </a:r>
            <a:endParaRPr lang="de-DE" noProof="0" dirty="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2.xml"/><Relationship Id="rId1" Type="http://schemas.openxmlformats.org/officeDocument/2006/relationships/slideLayout" Target="../slideLayouts/slideLayout18.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3.xml"/><Relationship Id="rId1" Type="http://schemas.openxmlformats.org/officeDocument/2006/relationships/slideLayout" Target="../slideLayouts/slideLayout18.xml"/><Relationship Id="rId5" Type="http://schemas.openxmlformats.org/officeDocument/2006/relationships/image" Target="../media/image28.png"/><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hyperlink" Target="https://www.integrityhub.net/"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microsoft.com/office/2018/10/relationships/comments" Target="../comments/modernComment_14F_946689CF.xml"/><Relationship Id="rId7" Type="http://schemas.openxmlformats.org/officeDocument/2006/relationships/image" Target="../media/image14.sv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1.emf"/><Relationship Id="rId4" Type="http://schemas.openxmlformats.org/officeDocument/2006/relationships/image" Target="../media/image11.png"/><Relationship Id="rId9" Type="http://schemas.openxmlformats.org/officeDocument/2006/relationships/image" Target="../media/image16.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Screenshot, Text, Betriebssystem, Design enthält.&#10;&#10;Automatisch generierte Beschreibung">
            <a:extLst>
              <a:ext uri="{FF2B5EF4-FFF2-40B4-BE49-F238E27FC236}">
                <a16:creationId xmlns:a16="http://schemas.microsoft.com/office/drawing/2014/main" id="{F10F11FB-8DB4-3869-4689-68B1B1302EBE}"/>
              </a:ext>
            </a:extLst>
          </p:cNvPr>
          <p:cNvPicPr>
            <a:picLocks noGrp="1" noChangeAspect="1"/>
          </p:cNvPicPr>
          <p:nvPr>
            <p:ph type="pic" sz="quarter" idx="12"/>
          </p:nvPr>
        </p:nvPicPr>
        <p:blipFill>
          <a:blip r:embed="rId2"/>
          <a:srcRect/>
          <a:stretch>
            <a:fillRect/>
          </a:stretch>
        </p:blipFill>
        <p:spPr/>
      </p:pic>
      <p:sp>
        <p:nvSpPr>
          <p:cNvPr id="3" name="Titel 2">
            <a:extLst>
              <a:ext uri="{FF2B5EF4-FFF2-40B4-BE49-F238E27FC236}">
                <a16:creationId xmlns:a16="http://schemas.microsoft.com/office/drawing/2014/main" id="{CE4BC12D-CEEE-D375-15D7-923BB37CE608}"/>
              </a:ext>
            </a:extLst>
          </p:cNvPr>
          <p:cNvSpPr>
            <a:spLocks noGrp="1"/>
          </p:cNvSpPr>
          <p:nvPr>
            <p:ph type="ctrTitle"/>
          </p:nvPr>
        </p:nvSpPr>
        <p:spPr/>
        <p:txBody>
          <a:bodyPr/>
          <a:lstStyle/>
          <a:p>
            <a:r>
              <a:rPr lang="en-US" noProof="0" dirty="0"/>
              <a:t>APPROVALS</a:t>
            </a:r>
          </a:p>
        </p:txBody>
      </p:sp>
      <p:sp>
        <p:nvSpPr>
          <p:cNvPr id="4" name="Untertitel 3">
            <a:extLst>
              <a:ext uri="{FF2B5EF4-FFF2-40B4-BE49-F238E27FC236}">
                <a16:creationId xmlns:a16="http://schemas.microsoft.com/office/drawing/2014/main" id="{FAC8B032-9DF0-510F-0DCC-33EF179340A5}"/>
              </a:ext>
            </a:extLst>
          </p:cNvPr>
          <p:cNvSpPr>
            <a:spLocks noGrp="1"/>
          </p:cNvSpPr>
          <p:nvPr>
            <p:ph type="subTitle" idx="1"/>
          </p:nvPr>
        </p:nvSpPr>
        <p:spPr/>
        <p:txBody>
          <a:bodyPr vert="horz" wrap="square" lIns="0" tIns="0" rIns="0" bIns="0" rtlCol="0" anchor="t">
            <a:normAutofit/>
          </a:bodyPr>
          <a:lstStyle/>
          <a:p>
            <a:r>
              <a:rPr lang="en-US" noProof="0" dirty="0"/>
              <a:t>Submitting an Ad Hoc Approval Request</a:t>
            </a:r>
            <a:r>
              <a:rPr lang="en-US" dirty="0"/>
              <a:t> Training Deck</a:t>
            </a:r>
            <a:endParaRPr lang="en-US" noProof="0" dirty="0"/>
          </a:p>
        </p:txBody>
      </p:sp>
    </p:spTree>
    <p:extLst>
      <p:ext uri="{BB962C8B-B14F-4D97-AF65-F5344CB8AC3E}">
        <p14:creationId xmlns:p14="http://schemas.microsoft.com/office/powerpoint/2010/main" val="1776881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62FC0-DECE-F92E-C3EF-9F681679443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10E0906-6F44-758D-496F-D8BA8841D5B4}"/>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Request </a:t>
            </a:r>
            <a:endParaRPr lang="en-US" dirty="0"/>
          </a:p>
        </p:txBody>
      </p:sp>
      <p:sp>
        <p:nvSpPr>
          <p:cNvPr id="7" name="Slide Number Placeholder 6">
            <a:extLst>
              <a:ext uri="{FF2B5EF4-FFF2-40B4-BE49-F238E27FC236}">
                <a16:creationId xmlns:a16="http://schemas.microsoft.com/office/drawing/2014/main" id="{67A9E7BA-091C-70D6-8CCE-2E1B10F8C191}"/>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0</a:t>
            </a:fld>
            <a:endParaRPr lang="en-US" noProof="0" dirty="0"/>
          </a:p>
        </p:txBody>
      </p:sp>
      <p:sp>
        <p:nvSpPr>
          <p:cNvPr id="5" name="Inhaltsplatzhalter 5">
            <a:extLst>
              <a:ext uri="{FF2B5EF4-FFF2-40B4-BE49-F238E27FC236}">
                <a16:creationId xmlns:a16="http://schemas.microsoft.com/office/drawing/2014/main" id="{C47A682A-038F-2223-5C5A-F4F584F2B715}"/>
              </a:ext>
            </a:extLst>
          </p:cNvPr>
          <p:cNvSpPr txBox="1">
            <a:spLocks/>
          </p:cNvSpPr>
          <p:nvPr/>
        </p:nvSpPr>
        <p:spPr bwMode="gray">
          <a:xfrm>
            <a:off x="1092200" y="1926189"/>
            <a:ext cx="4804392"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Gather all information, receipts, and attachments. </a:t>
            </a:r>
          </a:p>
          <a:p>
            <a:pPr lvl="5"/>
            <a:r>
              <a:rPr lang="en-US" dirty="0"/>
              <a:t>Complete the form entirely.</a:t>
            </a:r>
          </a:p>
          <a:p>
            <a:pPr lvl="5"/>
            <a:r>
              <a:rPr lang="en-US" dirty="0"/>
              <a:t>You may be prompted to add information about the business partner(s) or other people involved.</a:t>
            </a:r>
          </a:p>
          <a:p>
            <a:pPr lvl="5"/>
            <a:r>
              <a:rPr lang="en-US" dirty="0"/>
              <a:t>Click the </a:t>
            </a:r>
            <a:r>
              <a:rPr lang="en-US" b="1" dirty="0"/>
              <a:t>Continue</a:t>
            </a:r>
            <a:r>
              <a:rPr lang="en-US" dirty="0"/>
              <a:t> button.</a:t>
            </a:r>
          </a:p>
          <a:p>
            <a:pPr lvl="5"/>
            <a:endParaRPr lang="en-US" dirty="0"/>
          </a:p>
          <a:p>
            <a:pPr lvl="1"/>
            <a:endParaRPr lang="en-US" dirty="0"/>
          </a:p>
        </p:txBody>
      </p:sp>
      <p:pic>
        <p:nvPicPr>
          <p:cNvPr id="8" name="Picture 7" descr="A screenshot of a computer&#10;&#10;AI-generated content may be incorrect.">
            <a:extLst>
              <a:ext uri="{FF2B5EF4-FFF2-40B4-BE49-F238E27FC236}">
                <a16:creationId xmlns:a16="http://schemas.microsoft.com/office/drawing/2014/main" id="{21798592-1872-B54E-C0CE-7E72D4CA5896}"/>
              </a:ext>
            </a:extLst>
          </p:cNvPr>
          <p:cNvPicPr>
            <a:picLocks noChangeAspect="1"/>
          </p:cNvPicPr>
          <p:nvPr/>
        </p:nvPicPr>
        <p:blipFill>
          <a:blip r:embed="rId4"/>
          <a:stretch>
            <a:fillRect/>
          </a:stretch>
        </p:blipFill>
        <p:spPr>
          <a:xfrm>
            <a:off x="6096308" y="1927746"/>
            <a:ext cx="4996008" cy="3733469"/>
          </a:xfrm>
          <a:prstGeom prst="rect">
            <a:avLst/>
          </a:prstGeom>
        </p:spPr>
      </p:pic>
    </p:spTree>
    <p:extLst>
      <p:ext uri="{BB962C8B-B14F-4D97-AF65-F5344CB8AC3E}">
        <p14:creationId xmlns:p14="http://schemas.microsoft.com/office/powerpoint/2010/main" val="1541240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715D6B-5A48-1106-D1F0-6121A55BDC6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841D167-F253-172C-F4A1-2A9D16DBD3EE}"/>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Request </a:t>
            </a:r>
            <a:endParaRPr lang="en-US" dirty="0"/>
          </a:p>
        </p:txBody>
      </p:sp>
      <p:sp>
        <p:nvSpPr>
          <p:cNvPr id="7" name="Slide Number Placeholder 6">
            <a:extLst>
              <a:ext uri="{FF2B5EF4-FFF2-40B4-BE49-F238E27FC236}">
                <a16:creationId xmlns:a16="http://schemas.microsoft.com/office/drawing/2014/main" id="{777772BA-0F06-0A9E-20F4-B054BE22A6E6}"/>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1</a:t>
            </a:fld>
            <a:endParaRPr lang="en-US" noProof="0" dirty="0"/>
          </a:p>
        </p:txBody>
      </p:sp>
      <p:sp>
        <p:nvSpPr>
          <p:cNvPr id="5" name="Inhaltsplatzhalter 5">
            <a:extLst>
              <a:ext uri="{FF2B5EF4-FFF2-40B4-BE49-F238E27FC236}">
                <a16:creationId xmlns:a16="http://schemas.microsoft.com/office/drawing/2014/main" id="{82E7CB40-2979-DBF8-2D70-E8CA4BD01B59}"/>
              </a:ext>
            </a:extLst>
          </p:cNvPr>
          <p:cNvSpPr txBox="1">
            <a:spLocks/>
          </p:cNvSpPr>
          <p:nvPr/>
        </p:nvSpPr>
        <p:spPr bwMode="gray">
          <a:xfrm>
            <a:off x="1092200" y="1926189"/>
            <a:ext cx="4804392"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Review the request for accuracy.</a:t>
            </a:r>
          </a:p>
          <a:p>
            <a:pPr lvl="5"/>
            <a:r>
              <a:rPr lang="en-US" dirty="0"/>
              <a:t>Click the Send request button when you are ready to submit the request.</a:t>
            </a:r>
          </a:p>
          <a:p>
            <a:pPr lvl="5"/>
            <a:endParaRPr lang="en-US" dirty="0"/>
          </a:p>
          <a:p>
            <a:pPr lvl="1"/>
            <a:endParaRPr lang="en-US" dirty="0"/>
          </a:p>
        </p:txBody>
      </p:sp>
      <p:pic>
        <p:nvPicPr>
          <p:cNvPr id="4" name="Picture 3" descr="A screenshot of a computer&#10;&#10;AI-generated content may be incorrect.">
            <a:extLst>
              <a:ext uri="{FF2B5EF4-FFF2-40B4-BE49-F238E27FC236}">
                <a16:creationId xmlns:a16="http://schemas.microsoft.com/office/drawing/2014/main" id="{A466BF67-D333-0E55-5686-204E72F13D44}"/>
              </a:ext>
            </a:extLst>
          </p:cNvPr>
          <p:cNvPicPr>
            <a:picLocks noChangeAspect="1"/>
          </p:cNvPicPr>
          <p:nvPr/>
        </p:nvPicPr>
        <p:blipFill>
          <a:blip r:embed="rId4"/>
          <a:stretch>
            <a:fillRect/>
          </a:stretch>
        </p:blipFill>
        <p:spPr>
          <a:xfrm>
            <a:off x="6529063" y="1925885"/>
            <a:ext cx="4046646" cy="4024281"/>
          </a:xfrm>
          <a:prstGeom prst="rect">
            <a:avLst/>
          </a:prstGeom>
        </p:spPr>
      </p:pic>
    </p:spTree>
    <p:extLst>
      <p:ext uri="{BB962C8B-B14F-4D97-AF65-F5344CB8AC3E}">
        <p14:creationId xmlns:p14="http://schemas.microsoft.com/office/powerpoint/2010/main" val="1795470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45690-9656-AE2C-9C64-AFA19B97B3B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38C81A1-B3C9-8487-CEE8-22E1AD389755}"/>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Request </a:t>
            </a:r>
            <a:endParaRPr lang="en-US" dirty="0"/>
          </a:p>
        </p:txBody>
      </p:sp>
      <p:sp>
        <p:nvSpPr>
          <p:cNvPr id="7" name="Slide Number Placeholder 6">
            <a:extLst>
              <a:ext uri="{FF2B5EF4-FFF2-40B4-BE49-F238E27FC236}">
                <a16:creationId xmlns:a16="http://schemas.microsoft.com/office/drawing/2014/main" id="{B20266BE-AE26-E259-5E28-8C03ABD0610C}"/>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2</a:t>
            </a:fld>
            <a:endParaRPr lang="en-US" noProof="0" dirty="0"/>
          </a:p>
        </p:txBody>
      </p:sp>
      <p:sp>
        <p:nvSpPr>
          <p:cNvPr id="5" name="Inhaltsplatzhalter 5">
            <a:extLst>
              <a:ext uri="{FF2B5EF4-FFF2-40B4-BE49-F238E27FC236}">
                <a16:creationId xmlns:a16="http://schemas.microsoft.com/office/drawing/2014/main" id="{3B65A0DF-F20B-8573-9A55-AE68D7165DEE}"/>
              </a:ext>
            </a:extLst>
          </p:cNvPr>
          <p:cNvSpPr txBox="1">
            <a:spLocks/>
          </p:cNvSpPr>
          <p:nvPr/>
        </p:nvSpPr>
        <p:spPr bwMode="gray">
          <a:xfrm>
            <a:off x="1092200" y="1926189"/>
            <a:ext cx="9792889"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After submission, you will be directed to your list of requests. </a:t>
            </a:r>
          </a:p>
          <a:p>
            <a:pPr lvl="5"/>
            <a:r>
              <a:rPr lang="en-US" dirty="0"/>
              <a:t>You will see the request you just completed in that list. Its status will be Pending.</a:t>
            </a:r>
          </a:p>
          <a:p>
            <a:pPr lvl="5">
              <a:buChar char="•"/>
            </a:pPr>
            <a:endParaRPr lang="en-US" dirty="0"/>
          </a:p>
          <a:p>
            <a:pPr lvl="1"/>
            <a:endParaRPr lang="en-US" dirty="0"/>
          </a:p>
        </p:txBody>
      </p:sp>
      <p:pic>
        <p:nvPicPr>
          <p:cNvPr id="6" name="Picture 5" descr="A screenshot of a chat&#10;&#10;AI-generated content may be incorrect.">
            <a:extLst>
              <a:ext uri="{FF2B5EF4-FFF2-40B4-BE49-F238E27FC236}">
                <a16:creationId xmlns:a16="http://schemas.microsoft.com/office/drawing/2014/main" id="{99329520-5A17-1D64-FF09-49023FC55910}"/>
              </a:ext>
            </a:extLst>
          </p:cNvPr>
          <p:cNvPicPr>
            <a:picLocks noChangeAspect="1"/>
          </p:cNvPicPr>
          <p:nvPr/>
        </p:nvPicPr>
        <p:blipFill>
          <a:blip r:embed="rId4"/>
          <a:stretch>
            <a:fillRect/>
          </a:stretch>
        </p:blipFill>
        <p:spPr>
          <a:xfrm>
            <a:off x="3269788" y="3429956"/>
            <a:ext cx="5440592" cy="2539674"/>
          </a:xfrm>
          <a:prstGeom prst="rect">
            <a:avLst/>
          </a:prstGeom>
        </p:spPr>
      </p:pic>
    </p:spTree>
    <p:extLst>
      <p:ext uri="{BB962C8B-B14F-4D97-AF65-F5344CB8AC3E}">
        <p14:creationId xmlns:p14="http://schemas.microsoft.com/office/powerpoint/2010/main" val="37655821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2F9FF6-93B4-C70C-99D7-90668B957A7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A8E6696-DB49-04E3-921A-B170BB9956E6}"/>
              </a:ext>
            </a:extLst>
          </p:cNvPr>
          <p:cNvSpPr>
            <a:spLocks noGrp="1"/>
          </p:cNvSpPr>
          <p:nvPr>
            <p:ph type="title"/>
          </p:nvPr>
        </p:nvSpPr>
        <p:spPr bwMode="gray">
          <a:xfrm>
            <a:off x="1092200" y="789687"/>
            <a:ext cx="10007600" cy="604039"/>
          </a:xfrm>
        </p:spPr>
        <p:txBody>
          <a:bodyPr/>
          <a:lstStyle/>
          <a:p>
            <a:r>
              <a:rPr lang="en-US" dirty="0">
                <a:latin typeface="Barlow ExtraBold"/>
              </a:rPr>
              <a:t>Complete the Form and Send Request </a:t>
            </a:r>
            <a:endParaRPr lang="en-US" dirty="0"/>
          </a:p>
        </p:txBody>
      </p:sp>
      <p:sp>
        <p:nvSpPr>
          <p:cNvPr id="7" name="Slide Number Placeholder 6">
            <a:extLst>
              <a:ext uri="{FF2B5EF4-FFF2-40B4-BE49-F238E27FC236}">
                <a16:creationId xmlns:a16="http://schemas.microsoft.com/office/drawing/2014/main" id="{344C150C-3B62-85A9-3F11-BBA9CADB0897}"/>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3</a:t>
            </a:fld>
            <a:endParaRPr lang="en-US" noProof="0" dirty="0"/>
          </a:p>
        </p:txBody>
      </p:sp>
      <p:sp>
        <p:nvSpPr>
          <p:cNvPr id="5" name="Inhaltsplatzhalter 5">
            <a:extLst>
              <a:ext uri="{FF2B5EF4-FFF2-40B4-BE49-F238E27FC236}">
                <a16:creationId xmlns:a16="http://schemas.microsoft.com/office/drawing/2014/main" id="{35F6F247-CEE0-1B2C-39B8-0D1CA151F55D}"/>
              </a:ext>
            </a:extLst>
          </p:cNvPr>
          <p:cNvSpPr txBox="1">
            <a:spLocks/>
          </p:cNvSpPr>
          <p:nvPr/>
        </p:nvSpPr>
        <p:spPr bwMode="gray">
          <a:xfrm>
            <a:off x="1092200" y="1926189"/>
            <a:ext cx="4775995"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400" dirty="0">
                <a:ea typeface="+mn-lt"/>
                <a:cs typeface="+mn-lt"/>
              </a:rPr>
              <a:t>You will also receive an email confirmation with a link to your request.</a:t>
            </a:r>
          </a:p>
          <a:p>
            <a:pPr lvl="5">
              <a:buChar char="•"/>
            </a:pPr>
            <a:endParaRPr lang="en-US" dirty="0"/>
          </a:p>
          <a:p>
            <a:pPr lvl="1"/>
            <a:endParaRPr lang="en-US" dirty="0"/>
          </a:p>
        </p:txBody>
      </p:sp>
      <p:pic>
        <p:nvPicPr>
          <p:cNvPr id="8" name="Picture 7" descr="A screenshot of a email&#10;&#10;AI-generated content may be incorrect.">
            <a:extLst>
              <a:ext uri="{FF2B5EF4-FFF2-40B4-BE49-F238E27FC236}">
                <a16:creationId xmlns:a16="http://schemas.microsoft.com/office/drawing/2014/main" id="{B97FE08D-6AEB-69A8-752B-D41C50DBFF29}"/>
              </a:ext>
            </a:extLst>
          </p:cNvPr>
          <p:cNvPicPr>
            <a:picLocks noChangeAspect="1"/>
          </p:cNvPicPr>
          <p:nvPr/>
        </p:nvPicPr>
        <p:blipFill>
          <a:blip r:embed="rId4"/>
          <a:stretch>
            <a:fillRect/>
          </a:stretch>
        </p:blipFill>
        <p:spPr>
          <a:xfrm>
            <a:off x="6584253" y="1926298"/>
            <a:ext cx="3799011" cy="4150771"/>
          </a:xfrm>
          <a:prstGeom prst="rect">
            <a:avLst/>
          </a:prstGeom>
        </p:spPr>
      </p:pic>
    </p:spTree>
    <p:extLst>
      <p:ext uri="{BB962C8B-B14F-4D97-AF65-F5344CB8AC3E}">
        <p14:creationId xmlns:p14="http://schemas.microsoft.com/office/powerpoint/2010/main" val="233686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530633-7BA7-261A-259B-47CB1260A31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F1C75ED-462F-8DE2-8580-DE319AD4E21B}"/>
              </a:ext>
            </a:extLst>
          </p:cNvPr>
          <p:cNvSpPr>
            <a:spLocks noGrp="1"/>
          </p:cNvSpPr>
          <p:nvPr>
            <p:ph type="title"/>
          </p:nvPr>
        </p:nvSpPr>
        <p:spPr bwMode="gray">
          <a:xfrm>
            <a:off x="1092200" y="789687"/>
            <a:ext cx="10007600" cy="604039"/>
          </a:xfrm>
        </p:spPr>
        <p:txBody>
          <a:bodyPr/>
          <a:lstStyle/>
          <a:p>
            <a:r>
              <a:rPr lang="en-US" dirty="0">
                <a:latin typeface="Barlow ExtraBold"/>
              </a:rPr>
              <a:t>Saving the Request for Later</a:t>
            </a:r>
          </a:p>
        </p:txBody>
      </p:sp>
      <p:sp>
        <p:nvSpPr>
          <p:cNvPr id="7" name="Slide Number Placeholder 6">
            <a:extLst>
              <a:ext uri="{FF2B5EF4-FFF2-40B4-BE49-F238E27FC236}">
                <a16:creationId xmlns:a16="http://schemas.microsoft.com/office/drawing/2014/main" id="{2C52AC44-AD5E-C12C-1777-099EE5F98AF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4</a:t>
            </a:fld>
            <a:endParaRPr lang="en-US" noProof="0" dirty="0"/>
          </a:p>
        </p:txBody>
      </p:sp>
      <p:sp>
        <p:nvSpPr>
          <p:cNvPr id="5" name="Inhaltsplatzhalter 5">
            <a:extLst>
              <a:ext uri="{FF2B5EF4-FFF2-40B4-BE49-F238E27FC236}">
                <a16:creationId xmlns:a16="http://schemas.microsoft.com/office/drawing/2014/main" id="{29BEB714-99D7-5C4B-EEB7-7EB00EFE4107}"/>
              </a:ext>
            </a:extLst>
          </p:cNvPr>
          <p:cNvSpPr txBox="1">
            <a:spLocks/>
          </p:cNvSpPr>
          <p:nvPr/>
        </p:nvSpPr>
        <p:spPr bwMode="gray">
          <a:xfrm>
            <a:off x="1092200" y="1926189"/>
            <a:ext cx="4804392" cy="3745024"/>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400" dirty="0"/>
              <a:t>If you need to continue your work on the request later, click the cancel button instead of the Continue button. </a:t>
            </a:r>
          </a:p>
          <a:p>
            <a:pPr lvl="5"/>
            <a:r>
              <a:rPr lang="en-US" sz="2400" dirty="0"/>
              <a:t>You will see a pop-up message, and if want to save your progress, click </a:t>
            </a:r>
            <a:r>
              <a:rPr lang="en-US" sz="2400" b="1" dirty="0"/>
              <a:t>Save as draft &amp; leave</a:t>
            </a:r>
            <a:r>
              <a:rPr lang="en-US" sz="2400" dirty="0"/>
              <a:t>. </a:t>
            </a:r>
          </a:p>
          <a:p>
            <a:pPr lvl="5"/>
            <a:r>
              <a:rPr lang="en-US" sz="2400" dirty="0"/>
              <a:t>Don’t forget to come back later to complete your request.</a:t>
            </a:r>
          </a:p>
          <a:p>
            <a:pPr lvl="1"/>
            <a:endParaRPr lang="en-US" dirty="0"/>
          </a:p>
        </p:txBody>
      </p:sp>
      <p:pic>
        <p:nvPicPr>
          <p:cNvPr id="4" name="Picture 3" descr="A screenshot of a computer screen&#10;&#10;AI-generated content may be incorrect.">
            <a:extLst>
              <a:ext uri="{FF2B5EF4-FFF2-40B4-BE49-F238E27FC236}">
                <a16:creationId xmlns:a16="http://schemas.microsoft.com/office/drawing/2014/main" id="{C2922DD4-7642-6285-49ED-C52600A2BF83}"/>
              </a:ext>
            </a:extLst>
          </p:cNvPr>
          <p:cNvPicPr>
            <a:picLocks noChangeAspect="1"/>
          </p:cNvPicPr>
          <p:nvPr/>
        </p:nvPicPr>
        <p:blipFill>
          <a:blip r:embed="rId4"/>
          <a:srcRect l="17114" t="21441" r="10296" b="6861"/>
          <a:stretch>
            <a:fillRect/>
          </a:stretch>
        </p:blipFill>
        <p:spPr>
          <a:xfrm>
            <a:off x="6386637" y="1924887"/>
            <a:ext cx="4563777" cy="1980273"/>
          </a:xfrm>
          <a:prstGeom prst="rect">
            <a:avLst/>
          </a:prstGeom>
        </p:spPr>
      </p:pic>
    </p:spTree>
    <p:extLst>
      <p:ext uri="{BB962C8B-B14F-4D97-AF65-F5344CB8AC3E}">
        <p14:creationId xmlns:p14="http://schemas.microsoft.com/office/powerpoint/2010/main" val="5197421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Communicating with Approvers</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en-US" dirty="0">
                <a:latin typeface="Barlow ExtraBold"/>
              </a:rPr>
              <a:t>04</a:t>
            </a:r>
            <a:endParaRPr lang="en-US" noProof="0" dirty="0"/>
          </a:p>
        </p:txBody>
      </p:sp>
    </p:spTree>
    <p:extLst>
      <p:ext uri="{BB962C8B-B14F-4D97-AF65-F5344CB8AC3E}">
        <p14:creationId xmlns:p14="http://schemas.microsoft.com/office/powerpoint/2010/main" val="356351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D53E9-C292-E9AF-EEF4-4ABE858DF82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7E1A3DF-82D7-B465-7C69-A6E4DC216492}"/>
              </a:ext>
            </a:extLst>
          </p:cNvPr>
          <p:cNvSpPr>
            <a:spLocks noGrp="1"/>
          </p:cNvSpPr>
          <p:nvPr>
            <p:ph type="title"/>
          </p:nvPr>
        </p:nvSpPr>
        <p:spPr bwMode="gray">
          <a:xfrm>
            <a:off x="1092200" y="789687"/>
            <a:ext cx="10007600" cy="604039"/>
          </a:xfrm>
        </p:spPr>
        <p:txBody>
          <a:bodyPr/>
          <a:lstStyle/>
          <a:p>
            <a:r>
              <a:rPr lang="en-US" dirty="0">
                <a:latin typeface="Barlow ExtraBold"/>
              </a:rPr>
              <a:t>Communication from an Approver</a:t>
            </a:r>
          </a:p>
        </p:txBody>
      </p:sp>
      <p:sp>
        <p:nvSpPr>
          <p:cNvPr id="7" name="Slide Number Placeholder 6">
            <a:extLst>
              <a:ext uri="{FF2B5EF4-FFF2-40B4-BE49-F238E27FC236}">
                <a16:creationId xmlns:a16="http://schemas.microsoft.com/office/drawing/2014/main" id="{8E29D293-2C07-EA25-CB6B-7E060F413852}"/>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6</a:t>
            </a:fld>
            <a:endParaRPr lang="en-US" noProof="0" dirty="0"/>
          </a:p>
        </p:txBody>
      </p:sp>
      <p:sp>
        <p:nvSpPr>
          <p:cNvPr id="5" name="Inhaltsplatzhalter 5">
            <a:extLst>
              <a:ext uri="{FF2B5EF4-FFF2-40B4-BE49-F238E27FC236}">
                <a16:creationId xmlns:a16="http://schemas.microsoft.com/office/drawing/2014/main" id="{838826DB-86AF-F130-8EF2-C14D5703762F}"/>
              </a:ext>
            </a:extLst>
          </p:cNvPr>
          <p:cNvSpPr txBox="1">
            <a:spLocks/>
          </p:cNvSpPr>
          <p:nvPr/>
        </p:nvSpPr>
        <p:spPr bwMode="gray">
          <a:xfrm>
            <a:off x="1092200" y="1926189"/>
            <a:ext cx="9366926"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ea typeface="+mn-lt"/>
                <a:cs typeface="+mn-lt"/>
              </a:rPr>
              <a:t>If the approvers need more information, have questions, or need to communicate with you, </a:t>
            </a:r>
            <a:r>
              <a:rPr lang="en-US" sz="2000" b="1" dirty="0">
                <a:ea typeface="+mn-lt"/>
                <a:cs typeface="+mn-lt"/>
              </a:rPr>
              <a:t>you will receive an email</a:t>
            </a:r>
            <a:r>
              <a:rPr lang="en-US" sz="2000" dirty="0">
                <a:ea typeface="+mn-lt"/>
                <a:cs typeface="+mn-lt"/>
              </a:rPr>
              <a:t>.  Click the link in the email to be directed to your request. </a:t>
            </a:r>
            <a:endParaRPr lang="en-US" dirty="0"/>
          </a:p>
          <a:p>
            <a:pPr lvl="5"/>
            <a:r>
              <a:rPr lang="en-US" sz="2000" dirty="0">
                <a:ea typeface="+mn-lt"/>
                <a:cs typeface="+mn-lt"/>
              </a:rPr>
              <a:t>Open the request, then scroll to the bottom of the request.  You will find the communication in the messages section of the request. </a:t>
            </a:r>
            <a:endParaRPr lang="en-US" dirty="0"/>
          </a:p>
          <a:p>
            <a:pPr lvl="5">
              <a:buClr>
                <a:srgbClr val="E90055"/>
              </a:buClr>
              <a:buFontTx/>
              <a:buChar char="•"/>
            </a:pPr>
            <a:endParaRPr lang="en-US" dirty="0"/>
          </a:p>
          <a:p>
            <a:pPr lvl="1"/>
            <a:endParaRPr lang="en-US" dirty="0"/>
          </a:p>
        </p:txBody>
      </p:sp>
      <p:pic>
        <p:nvPicPr>
          <p:cNvPr id="6" name="Picture 5" descr="A screenshot of a computer&#10;&#10;AI-generated content may be incorrect.">
            <a:extLst>
              <a:ext uri="{FF2B5EF4-FFF2-40B4-BE49-F238E27FC236}">
                <a16:creationId xmlns:a16="http://schemas.microsoft.com/office/drawing/2014/main" id="{3213048F-AD14-3B2F-E1AC-7094BC3FCB1A}"/>
              </a:ext>
            </a:extLst>
          </p:cNvPr>
          <p:cNvPicPr>
            <a:picLocks noChangeAspect="1"/>
          </p:cNvPicPr>
          <p:nvPr/>
        </p:nvPicPr>
        <p:blipFill>
          <a:blip r:embed="rId4"/>
          <a:stretch>
            <a:fillRect/>
          </a:stretch>
        </p:blipFill>
        <p:spPr>
          <a:xfrm>
            <a:off x="3492500" y="3803857"/>
            <a:ext cx="5205075" cy="2397687"/>
          </a:xfrm>
          <a:prstGeom prst="rect">
            <a:avLst/>
          </a:prstGeom>
        </p:spPr>
      </p:pic>
    </p:spTree>
    <p:extLst>
      <p:ext uri="{BB962C8B-B14F-4D97-AF65-F5344CB8AC3E}">
        <p14:creationId xmlns:p14="http://schemas.microsoft.com/office/powerpoint/2010/main" val="1919582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AACAF-62C2-548D-F19E-21C81C181BA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B43C8AA-4E01-8717-8C4D-AF9E70FCDD5A}"/>
              </a:ext>
            </a:extLst>
          </p:cNvPr>
          <p:cNvSpPr>
            <a:spLocks noGrp="1"/>
          </p:cNvSpPr>
          <p:nvPr>
            <p:ph type="title"/>
          </p:nvPr>
        </p:nvSpPr>
        <p:spPr bwMode="gray">
          <a:xfrm>
            <a:off x="1092200" y="789687"/>
            <a:ext cx="10007600" cy="604039"/>
          </a:xfrm>
        </p:spPr>
        <p:txBody>
          <a:bodyPr/>
          <a:lstStyle/>
          <a:p>
            <a:r>
              <a:rPr lang="en-US" dirty="0">
                <a:latin typeface="Barlow ExtraBold"/>
              </a:rPr>
              <a:t>Communication to an Approver</a:t>
            </a:r>
          </a:p>
        </p:txBody>
      </p:sp>
      <p:sp>
        <p:nvSpPr>
          <p:cNvPr id="7" name="Slide Number Placeholder 6">
            <a:extLst>
              <a:ext uri="{FF2B5EF4-FFF2-40B4-BE49-F238E27FC236}">
                <a16:creationId xmlns:a16="http://schemas.microsoft.com/office/drawing/2014/main" id="{F6948C17-02BD-1B26-71CA-C270A0CCD16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7</a:t>
            </a:fld>
            <a:endParaRPr lang="en-US" noProof="0" dirty="0"/>
          </a:p>
        </p:txBody>
      </p:sp>
      <p:sp>
        <p:nvSpPr>
          <p:cNvPr id="5" name="Inhaltsplatzhalter 5">
            <a:extLst>
              <a:ext uri="{FF2B5EF4-FFF2-40B4-BE49-F238E27FC236}">
                <a16:creationId xmlns:a16="http://schemas.microsoft.com/office/drawing/2014/main" id="{111B39F4-8DDD-B1ED-C8F7-67E5D647CBE4}"/>
              </a:ext>
            </a:extLst>
          </p:cNvPr>
          <p:cNvSpPr txBox="1">
            <a:spLocks/>
          </p:cNvSpPr>
          <p:nvPr/>
        </p:nvSpPr>
        <p:spPr bwMode="gray">
          <a:xfrm>
            <a:off x="1092200" y="1926189"/>
            <a:ext cx="4520418" cy="3745024"/>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400" dirty="0"/>
              <a:t>To respond to an approver, respond in the box under the message in the Messages section.</a:t>
            </a:r>
            <a:endParaRPr lang="en-US"/>
          </a:p>
          <a:p>
            <a:pPr lvl="5"/>
            <a:r>
              <a:rPr lang="en-US" sz="2400" dirty="0"/>
              <a:t>You can add attachments to your response.</a:t>
            </a:r>
            <a:endParaRPr lang="en-US" dirty="0"/>
          </a:p>
          <a:p>
            <a:pPr lvl="5"/>
            <a:r>
              <a:rPr lang="en-US" sz="2400" dirty="0"/>
              <a:t>When you are finished with your response, click the </a:t>
            </a:r>
            <a:r>
              <a:rPr lang="en-US" sz="2400" b="1" dirty="0"/>
              <a:t>Submit</a:t>
            </a:r>
            <a:r>
              <a:rPr lang="en-US" sz="2400" dirty="0"/>
              <a:t> button.</a:t>
            </a:r>
            <a:endParaRPr lang="en-US"/>
          </a:p>
          <a:p>
            <a:pPr lvl="1"/>
            <a:endParaRPr lang="en-US" dirty="0"/>
          </a:p>
        </p:txBody>
      </p:sp>
      <p:pic>
        <p:nvPicPr>
          <p:cNvPr id="6" name="Picture 5" descr="A screenshot of a computer&#10;&#10;AI-generated content may be incorrect.">
            <a:extLst>
              <a:ext uri="{FF2B5EF4-FFF2-40B4-BE49-F238E27FC236}">
                <a16:creationId xmlns:a16="http://schemas.microsoft.com/office/drawing/2014/main" id="{3B7EF0EC-2D08-D330-8FD1-7D17BCF4FA72}"/>
              </a:ext>
            </a:extLst>
          </p:cNvPr>
          <p:cNvPicPr>
            <a:picLocks noChangeAspect="1"/>
          </p:cNvPicPr>
          <p:nvPr/>
        </p:nvPicPr>
        <p:blipFill>
          <a:blip r:embed="rId4"/>
          <a:stretch>
            <a:fillRect/>
          </a:stretch>
        </p:blipFill>
        <p:spPr>
          <a:xfrm>
            <a:off x="6092025" y="1927244"/>
            <a:ext cx="5004909" cy="2956172"/>
          </a:xfrm>
          <a:prstGeom prst="rect">
            <a:avLst/>
          </a:prstGeom>
        </p:spPr>
      </p:pic>
    </p:spTree>
    <p:extLst>
      <p:ext uri="{BB962C8B-B14F-4D97-AF65-F5344CB8AC3E}">
        <p14:creationId xmlns:p14="http://schemas.microsoft.com/office/powerpoint/2010/main" val="390907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Attestation</a:t>
            </a:r>
          </a:p>
          <a:p>
            <a:endParaRPr lang="en-US" noProof="0" dirty="0">
              <a:latin typeface="Barlow ExtraBold"/>
            </a:endParaRP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en-US" dirty="0">
                <a:latin typeface="Barlow ExtraBold"/>
              </a:rPr>
              <a:t>05</a:t>
            </a:r>
            <a:endParaRPr lang="en-US" noProof="0" dirty="0"/>
          </a:p>
        </p:txBody>
      </p:sp>
    </p:spTree>
    <p:extLst>
      <p:ext uri="{BB962C8B-B14F-4D97-AF65-F5344CB8AC3E}">
        <p14:creationId xmlns:p14="http://schemas.microsoft.com/office/powerpoint/2010/main" val="295639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bwMode="gray">
          <a:xfrm>
            <a:off x="1092200" y="2312876"/>
            <a:ext cx="10007600" cy="3745024"/>
          </a:xfrm>
        </p:spPr>
        <p:txBody>
          <a:bodyPr>
            <a:normAutofit/>
          </a:bodyPr>
          <a:lstStyle/>
          <a:p>
            <a:pPr lvl="5"/>
            <a:r>
              <a:rPr lang="en-US" noProof="0" dirty="0"/>
              <a:t>You may be asked to attest to the result of the request.</a:t>
            </a:r>
          </a:p>
          <a:p>
            <a:pPr lvl="5"/>
            <a:r>
              <a:rPr lang="en-US" noProof="0" dirty="0"/>
              <a:t>You will receive an email requesting your review and attestation to the result of the request from the approvers.  Click the link in the email.  You will be directed to the request.</a:t>
            </a:r>
          </a:p>
          <a:p>
            <a:pPr lvl="5"/>
            <a:r>
              <a:rPr lang="en-US" noProof="0" dirty="0"/>
              <a:t>You will see that an attestation is required.</a:t>
            </a:r>
          </a:p>
        </p:txBody>
      </p:sp>
      <p:sp>
        <p:nvSpPr>
          <p:cNvPr id="2" name="Titel 1"/>
          <p:cNvSpPr>
            <a:spLocks noGrp="1"/>
          </p:cNvSpPr>
          <p:nvPr>
            <p:ph type="title"/>
          </p:nvPr>
        </p:nvSpPr>
        <p:spPr bwMode="gray">
          <a:xfrm>
            <a:off x="1092200" y="789687"/>
            <a:ext cx="10007600" cy="604039"/>
          </a:xfrm>
        </p:spPr>
        <p:txBody>
          <a:bodyPr/>
          <a:lstStyle/>
          <a:p>
            <a:r>
              <a:rPr lang="en-US" noProof="0" dirty="0"/>
              <a:t>Attestation</a:t>
            </a:r>
          </a:p>
        </p:txBody>
      </p:sp>
      <p:sp>
        <p:nvSpPr>
          <p:cNvPr id="4" name="Slide Number Placeholder 3">
            <a:extLst>
              <a:ext uri="{FF2B5EF4-FFF2-40B4-BE49-F238E27FC236}">
                <a16:creationId xmlns:a16="http://schemas.microsoft.com/office/drawing/2014/main" id="{5D43AB3B-3F79-1F84-FE50-45B17F1B69EF}"/>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19</a:t>
            </a:fld>
            <a:endParaRPr lang="en-US" noProof="0" dirty="0"/>
          </a:p>
        </p:txBody>
      </p:sp>
    </p:spTree>
    <p:extLst>
      <p:ext uri="{BB962C8B-B14F-4D97-AF65-F5344CB8AC3E}">
        <p14:creationId xmlns:p14="http://schemas.microsoft.com/office/powerpoint/2010/main" val="1317054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744912"/>
          </a:xfrm>
        </p:spPr>
        <p:txBody>
          <a:bodyPr vert="horz" wrap="square" lIns="0" tIns="0" rIns="0" bIns="0" numCol="1" spcCol="432000" rtlCol="0" anchor="t">
            <a:normAutofit fontScale="92500" lnSpcReduction="20000"/>
          </a:bodyPr>
          <a:lstStyle/>
          <a:p>
            <a:r>
              <a:rPr lang="en-US" noProof="0" dirty="0"/>
              <a:t>Navigate to Integrity Hub</a:t>
            </a:r>
          </a:p>
          <a:p>
            <a:r>
              <a:rPr lang="en-US" noProof="0" dirty="0"/>
              <a:t>Starting a Request</a:t>
            </a:r>
            <a:r>
              <a:rPr lang="en-US" dirty="0"/>
              <a:t> &amp;</a:t>
            </a:r>
            <a:r>
              <a:rPr lang="en-US" noProof="0" dirty="0"/>
              <a:t> Types of Requests</a:t>
            </a:r>
          </a:p>
          <a:p>
            <a:r>
              <a:rPr lang="en-US" noProof="0" dirty="0"/>
              <a:t>Completing the Request Form &amp; Sending the Request</a:t>
            </a:r>
          </a:p>
          <a:p>
            <a:r>
              <a:rPr lang="en-US" noProof="0" dirty="0"/>
              <a:t>Cancelling a Request</a:t>
            </a:r>
          </a:p>
          <a:p>
            <a:r>
              <a:rPr lang="en-US" noProof="0" dirty="0"/>
              <a:t>Communicating with Approvers</a:t>
            </a:r>
          </a:p>
          <a:p>
            <a:r>
              <a:rPr lang="en-US" noProof="0" dirty="0"/>
              <a:t>Attestation</a:t>
            </a:r>
          </a:p>
          <a:p>
            <a:r>
              <a:rPr lang="en-US" noProof="0" dirty="0"/>
              <a:t>Glossary</a:t>
            </a:r>
          </a:p>
        </p:txBody>
      </p:sp>
      <p:sp>
        <p:nvSpPr>
          <p:cNvPr id="2" name="Titel 1"/>
          <p:cNvSpPr>
            <a:spLocks noGrp="1"/>
          </p:cNvSpPr>
          <p:nvPr>
            <p:ph type="title"/>
          </p:nvPr>
        </p:nvSpPr>
        <p:spPr bwMode="gray">
          <a:xfrm>
            <a:off x="1092200" y="772324"/>
            <a:ext cx="10007600" cy="604039"/>
          </a:xfrm>
        </p:spPr>
        <p:txBody>
          <a:bodyPr/>
          <a:lstStyle/>
          <a:p>
            <a:r>
              <a:rPr lang="en-US" noProof="0" dirty="0"/>
              <a:t>Agenda</a:t>
            </a:r>
          </a:p>
        </p:txBody>
      </p:sp>
      <p:sp>
        <p:nvSpPr>
          <p:cNvPr id="10" name="Textplatzhalter 9"/>
          <p:cNvSpPr>
            <a:spLocks noGrp="1"/>
          </p:cNvSpPr>
          <p:nvPr>
            <p:ph type="body" sz="quarter" idx="4294967295"/>
          </p:nvPr>
        </p:nvSpPr>
        <p:spPr bwMode="gray">
          <a:xfrm>
            <a:off x="11663363" y="296863"/>
            <a:ext cx="528637" cy="287337"/>
          </a:xfrm>
        </p:spPr>
        <p:txBody>
          <a:bodyPr>
            <a:normAutofit fontScale="92500" lnSpcReduction="20000"/>
          </a:bodyPr>
          <a:lstStyle/>
          <a:p>
            <a:r>
              <a:rPr lang="en-US" noProof="0" dirty="0"/>
              <a:t> </a:t>
            </a:r>
          </a:p>
        </p:txBody>
      </p:sp>
      <p:sp>
        <p:nvSpPr>
          <p:cNvPr id="7" name="Slide Number Placeholder 6">
            <a:extLst>
              <a:ext uri="{FF2B5EF4-FFF2-40B4-BE49-F238E27FC236}">
                <a16:creationId xmlns:a16="http://schemas.microsoft.com/office/drawing/2014/main" id="{965D8BCE-275E-0371-584F-F92D1C3DEB30}"/>
              </a:ext>
            </a:extLst>
          </p:cNvPr>
          <p:cNvSpPr>
            <a:spLocks noGrp="1"/>
          </p:cNvSpPr>
          <p:nvPr>
            <p:ph type="sldNum" sz="quarter" idx="14"/>
          </p:nvPr>
        </p:nvSpPr>
        <p:spPr/>
        <p:txBody>
          <a:bodyPr/>
          <a:lstStyle/>
          <a:p>
            <a:fld id="{44661A95-0089-4306-9485-D330C59FE3ED}" type="slidenum">
              <a:rPr lang="en-US" noProof="0" smtClean="0"/>
              <a:pPr/>
              <a:t>2</a:t>
            </a:fld>
            <a:endParaRPr lang="en-US" noProof="0" dirty="0"/>
          </a:p>
        </p:txBody>
      </p:sp>
    </p:spTree>
    <p:extLst>
      <p:ext uri="{BB962C8B-B14F-4D97-AF65-F5344CB8AC3E}">
        <p14:creationId xmlns:p14="http://schemas.microsoft.com/office/powerpoint/2010/main" val="20060819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D2712-588F-8624-C07A-AD378693609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48C86E4-6822-EF6E-65B5-1EE22D9E40AF}"/>
              </a:ext>
            </a:extLst>
          </p:cNvPr>
          <p:cNvSpPr>
            <a:spLocks noGrp="1"/>
          </p:cNvSpPr>
          <p:nvPr>
            <p:ph type="title"/>
          </p:nvPr>
        </p:nvSpPr>
        <p:spPr bwMode="gray">
          <a:xfrm>
            <a:off x="1092200" y="789687"/>
            <a:ext cx="10007600" cy="604039"/>
          </a:xfrm>
        </p:spPr>
        <p:txBody>
          <a:bodyPr/>
          <a:lstStyle/>
          <a:p>
            <a:r>
              <a:rPr lang="en-US" dirty="0">
                <a:latin typeface="Barlow ExtraBold"/>
              </a:rPr>
              <a:t>Attest to the Request Conclusion</a:t>
            </a:r>
          </a:p>
        </p:txBody>
      </p:sp>
      <p:sp>
        <p:nvSpPr>
          <p:cNvPr id="7" name="Slide Number Placeholder 6">
            <a:extLst>
              <a:ext uri="{FF2B5EF4-FFF2-40B4-BE49-F238E27FC236}">
                <a16:creationId xmlns:a16="http://schemas.microsoft.com/office/drawing/2014/main" id="{39AEE14A-65AA-84E9-17C8-0A0B58B2A46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0</a:t>
            </a:fld>
            <a:endParaRPr lang="en-US" noProof="0" dirty="0"/>
          </a:p>
        </p:txBody>
      </p:sp>
      <p:sp>
        <p:nvSpPr>
          <p:cNvPr id="5" name="Inhaltsplatzhalter 5">
            <a:extLst>
              <a:ext uri="{FF2B5EF4-FFF2-40B4-BE49-F238E27FC236}">
                <a16:creationId xmlns:a16="http://schemas.microsoft.com/office/drawing/2014/main" id="{C818FBF5-C11A-66BD-4AB6-D88D84786D6D}"/>
              </a:ext>
            </a:extLst>
          </p:cNvPr>
          <p:cNvSpPr txBox="1">
            <a:spLocks/>
          </p:cNvSpPr>
          <p:nvPr/>
        </p:nvSpPr>
        <p:spPr bwMode="gray">
          <a:xfrm>
            <a:off x="1092200" y="1926189"/>
            <a:ext cx="4804392"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t>At the top of the request, you will see there is an Attestation pending.</a:t>
            </a:r>
          </a:p>
          <a:p>
            <a:pPr lvl="5"/>
            <a:r>
              <a:rPr lang="en-US" dirty="0"/>
              <a:t>Click the </a:t>
            </a:r>
            <a:r>
              <a:rPr lang="en-US" b="1" dirty="0"/>
              <a:t>Confirm</a:t>
            </a:r>
            <a:r>
              <a:rPr lang="en-US" dirty="0"/>
              <a:t> button.</a:t>
            </a:r>
          </a:p>
          <a:p>
            <a:pPr lvl="5">
              <a:buClr>
                <a:srgbClr val="E90055"/>
              </a:buClr>
              <a:buFontTx/>
              <a:buChar char="•"/>
            </a:pPr>
            <a:endParaRPr lang="en-US" dirty="0"/>
          </a:p>
          <a:p>
            <a:pPr lvl="1"/>
            <a:endParaRPr lang="en-US" dirty="0"/>
          </a:p>
        </p:txBody>
      </p:sp>
      <p:pic>
        <p:nvPicPr>
          <p:cNvPr id="6" name="Picture 5" descr="A screenshot of a chat&#10;&#10;AI-generated content may be incorrect.">
            <a:extLst>
              <a:ext uri="{FF2B5EF4-FFF2-40B4-BE49-F238E27FC236}">
                <a16:creationId xmlns:a16="http://schemas.microsoft.com/office/drawing/2014/main" id="{B7C64997-6F26-2C00-2992-5359DEFDC1CA}"/>
              </a:ext>
            </a:extLst>
          </p:cNvPr>
          <p:cNvPicPr>
            <a:picLocks noChangeAspect="1"/>
          </p:cNvPicPr>
          <p:nvPr/>
        </p:nvPicPr>
        <p:blipFill>
          <a:blip r:embed="rId4"/>
          <a:srcRect/>
          <a:stretch/>
        </p:blipFill>
        <p:spPr>
          <a:xfrm>
            <a:off x="6298792" y="1928118"/>
            <a:ext cx="4801231" cy="2531711"/>
          </a:xfrm>
          <a:prstGeom prst="rect">
            <a:avLst/>
          </a:prstGeom>
        </p:spPr>
      </p:pic>
    </p:spTree>
    <p:extLst>
      <p:ext uri="{BB962C8B-B14F-4D97-AF65-F5344CB8AC3E}">
        <p14:creationId xmlns:p14="http://schemas.microsoft.com/office/powerpoint/2010/main" val="1356628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type="body" sz="quarter" idx="15"/>
          </p:nvPr>
        </p:nvSpPr>
        <p:spPr bwMode="gray">
          <a:xfrm>
            <a:off x="1092199" y="2272553"/>
            <a:ext cx="10007601" cy="2124844"/>
          </a:xfrm>
        </p:spPr>
        <p:txBody>
          <a:bodyPr vert="horz" lIns="0" tIns="0" rIns="0" bIns="0" rtlCol="0" anchor="t">
            <a:normAutofit/>
          </a:bodyPr>
          <a:lstStyle/>
          <a:p>
            <a:pPr lvl="1"/>
            <a:r>
              <a:rPr lang="en-US" sz="2400" noProof="0" dirty="0"/>
              <a:t>Once you </a:t>
            </a:r>
            <a:r>
              <a:rPr lang="en-US" sz="2400" dirty="0"/>
              <a:t>complete</a:t>
            </a:r>
            <a:r>
              <a:rPr lang="en-US" sz="2400" noProof="0" dirty="0"/>
              <a:t> </a:t>
            </a:r>
            <a:r>
              <a:rPr lang="en-US" sz="2400" dirty="0"/>
              <a:t>the </a:t>
            </a:r>
            <a:r>
              <a:rPr lang="en-US" sz="2400" noProof="0" dirty="0"/>
              <a:t>attestation, you will see </a:t>
            </a:r>
            <a:r>
              <a:rPr lang="en-US" sz="2400" dirty="0"/>
              <a:t>this reflected in green</a:t>
            </a:r>
            <a:r>
              <a:rPr lang="en-US" sz="2400" noProof="0" dirty="0"/>
              <a:t>.  Your request </a:t>
            </a:r>
            <a:r>
              <a:rPr lang="en-US" sz="2400" dirty="0"/>
              <a:t>is now fully complete</a:t>
            </a:r>
            <a:r>
              <a:rPr lang="en-US" sz="2400" noProof="0" dirty="0"/>
              <a:t>.</a:t>
            </a:r>
          </a:p>
          <a:p>
            <a:pPr lvl="1"/>
            <a:endParaRPr lang="en-US" noProof="0" dirty="0"/>
          </a:p>
          <a:p>
            <a:pPr lvl="1"/>
            <a:endParaRPr lang="en-US" noProof="0" dirty="0"/>
          </a:p>
        </p:txBody>
      </p:sp>
      <p:sp>
        <p:nvSpPr>
          <p:cNvPr id="15" name="Titel 14"/>
          <p:cNvSpPr>
            <a:spLocks noGrp="1"/>
          </p:cNvSpPr>
          <p:nvPr>
            <p:ph type="title"/>
          </p:nvPr>
        </p:nvSpPr>
        <p:spPr bwMode="gray">
          <a:xfrm>
            <a:off x="1092200" y="789687"/>
            <a:ext cx="10007600" cy="604039"/>
          </a:xfrm>
        </p:spPr>
        <p:txBody>
          <a:bodyPr/>
          <a:lstStyle/>
          <a:p>
            <a:r>
              <a:rPr lang="en-US" noProof="0" dirty="0"/>
              <a:t>Attestation / Request is Completed</a:t>
            </a:r>
          </a:p>
        </p:txBody>
      </p:sp>
      <p:sp>
        <p:nvSpPr>
          <p:cNvPr id="6" name="Slide Number Placeholder 5">
            <a:extLst>
              <a:ext uri="{FF2B5EF4-FFF2-40B4-BE49-F238E27FC236}">
                <a16:creationId xmlns:a16="http://schemas.microsoft.com/office/drawing/2014/main" id="{CCE9110C-434F-E871-EF6D-2A4BB14204D0}"/>
              </a:ext>
            </a:extLst>
          </p:cNvPr>
          <p:cNvSpPr>
            <a:spLocks noGrp="1"/>
          </p:cNvSpPr>
          <p:nvPr>
            <p:ph type="sldNum" sz="quarter" idx="17"/>
          </p:nvPr>
        </p:nvSpPr>
        <p:spPr>
          <a:xfrm>
            <a:off x="11526329" y="6198777"/>
            <a:ext cx="665672" cy="659223"/>
          </a:xfrm>
        </p:spPr>
        <p:txBody>
          <a:bodyPr/>
          <a:lstStyle/>
          <a:p>
            <a:fld id="{44661A95-0089-4306-9485-D330C59FE3ED}" type="slidenum">
              <a:rPr lang="en-US" noProof="0" smtClean="0"/>
              <a:pPr/>
              <a:t>21</a:t>
            </a:fld>
            <a:endParaRPr lang="en-US" noProof="0" dirty="0"/>
          </a:p>
        </p:txBody>
      </p:sp>
      <p:sp>
        <p:nvSpPr>
          <p:cNvPr id="2" name="TextBox 1">
            <a:extLst>
              <a:ext uri="{FF2B5EF4-FFF2-40B4-BE49-F238E27FC236}">
                <a16:creationId xmlns:a16="http://schemas.microsoft.com/office/drawing/2014/main" id="{402737E0-4A72-33CD-94DE-BEE02A5E1AF2}"/>
              </a:ext>
            </a:extLst>
          </p:cNvPr>
          <p:cNvSpPr txBox="1"/>
          <p:nvPr/>
        </p:nvSpPr>
        <p:spPr bwMode="gray">
          <a:xfrm>
            <a:off x="1714500" y="4249882"/>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3"/>
              </a:buBlip>
            </a:pPr>
            <a:endParaRPr lang="en-US" sz="2000" noProof="0" dirty="0"/>
          </a:p>
        </p:txBody>
      </p:sp>
      <p:pic>
        <p:nvPicPr>
          <p:cNvPr id="10" name="Picture 9">
            <a:extLst>
              <a:ext uri="{FF2B5EF4-FFF2-40B4-BE49-F238E27FC236}">
                <a16:creationId xmlns:a16="http://schemas.microsoft.com/office/drawing/2014/main" id="{A0C411E3-A15E-1B67-5B9E-7B5D2144371C}"/>
              </a:ext>
            </a:extLst>
          </p:cNvPr>
          <p:cNvPicPr>
            <a:picLocks noChangeAspect="1"/>
          </p:cNvPicPr>
          <p:nvPr/>
        </p:nvPicPr>
        <p:blipFill>
          <a:blip r:embed="rId4"/>
          <a:srcRect/>
          <a:stretch/>
        </p:blipFill>
        <p:spPr>
          <a:xfrm>
            <a:off x="2589670" y="3430420"/>
            <a:ext cx="7011339" cy="2124844"/>
          </a:xfrm>
          <a:prstGeom prst="rect">
            <a:avLst/>
          </a:prstGeom>
        </p:spPr>
      </p:pic>
    </p:spTree>
    <p:extLst>
      <p:ext uri="{BB962C8B-B14F-4D97-AF65-F5344CB8AC3E}">
        <p14:creationId xmlns:p14="http://schemas.microsoft.com/office/powerpoint/2010/main" val="1832310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Cancelling and Deleting a Request</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0F93E38A-BA03-472A-46BA-4B5A7573BBA9}"/>
              </a:ext>
            </a:extLst>
          </p:cNvPr>
          <p:cNvSpPr>
            <a:spLocks noGrp="1"/>
          </p:cNvSpPr>
          <p:nvPr>
            <p:ph type="title"/>
          </p:nvPr>
        </p:nvSpPr>
        <p:spPr/>
        <p:txBody>
          <a:bodyPr/>
          <a:lstStyle/>
          <a:p>
            <a:r>
              <a:rPr lang="en-US" dirty="0">
                <a:latin typeface="Barlow ExtraBold"/>
              </a:rPr>
              <a:t>06</a:t>
            </a:r>
            <a:endParaRPr lang="en-US" noProof="0" dirty="0"/>
          </a:p>
        </p:txBody>
      </p:sp>
    </p:spTree>
    <p:extLst>
      <p:ext uri="{BB962C8B-B14F-4D97-AF65-F5344CB8AC3E}">
        <p14:creationId xmlns:p14="http://schemas.microsoft.com/office/powerpoint/2010/main" val="4116852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4F7B5-35FE-33A4-2C4A-4C2406F733A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88F925A-6872-90CE-3305-C1B50F1746A5}"/>
              </a:ext>
            </a:extLst>
          </p:cNvPr>
          <p:cNvSpPr>
            <a:spLocks noGrp="1"/>
          </p:cNvSpPr>
          <p:nvPr>
            <p:ph type="title"/>
          </p:nvPr>
        </p:nvSpPr>
        <p:spPr bwMode="gray">
          <a:xfrm>
            <a:off x="1092200" y="789687"/>
            <a:ext cx="10007600" cy="604039"/>
          </a:xfrm>
        </p:spPr>
        <p:txBody>
          <a:bodyPr/>
          <a:lstStyle/>
          <a:p>
            <a:r>
              <a:rPr lang="en-US" dirty="0">
                <a:latin typeface="Barlow ExtraBold"/>
              </a:rPr>
              <a:t>Cancel a Request</a:t>
            </a:r>
          </a:p>
        </p:txBody>
      </p:sp>
      <p:sp>
        <p:nvSpPr>
          <p:cNvPr id="7" name="Slide Number Placeholder 6">
            <a:extLst>
              <a:ext uri="{FF2B5EF4-FFF2-40B4-BE49-F238E27FC236}">
                <a16:creationId xmlns:a16="http://schemas.microsoft.com/office/drawing/2014/main" id="{4A372E08-EF62-649F-16F7-5401314CB9EC}"/>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3</a:t>
            </a:fld>
            <a:endParaRPr lang="en-US" noProof="0" dirty="0"/>
          </a:p>
        </p:txBody>
      </p:sp>
      <p:sp>
        <p:nvSpPr>
          <p:cNvPr id="5" name="Inhaltsplatzhalter 5">
            <a:extLst>
              <a:ext uri="{FF2B5EF4-FFF2-40B4-BE49-F238E27FC236}">
                <a16:creationId xmlns:a16="http://schemas.microsoft.com/office/drawing/2014/main" id="{9A6BC078-CF73-18B0-A7CB-6DE5825F1A6E}"/>
              </a:ext>
            </a:extLst>
          </p:cNvPr>
          <p:cNvSpPr txBox="1">
            <a:spLocks/>
          </p:cNvSpPr>
          <p:nvPr/>
        </p:nvSpPr>
        <p:spPr bwMode="gray">
          <a:xfrm>
            <a:off x="1092200" y="1926189"/>
            <a:ext cx="4804392" cy="3745024"/>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200" dirty="0"/>
              <a:t>There might be an instance when you need to cancel a request. For example, during the course of the request, the gift or invitation may have been taken back. </a:t>
            </a:r>
          </a:p>
          <a:p>
            <a:pPr lvl="5"/>
            <a:r>
              <a:rPr lang="en-US" sz="2200" dirty="0"/>
              <a:t>Navigate to Integrity Hub. Click on the request you need to cancel.</a:t>
            </a:r>
          </a:p>
          <a:p>
            <a:pPr lvl="5"/>
            <a:r>
              <a:rPr lang="en-US" sz="2200" dirty="0"/>
              <a:t>Inside this request, click on </a:t>
            </a:r>
            <a:r>
              <a:rPr lang="en-US" sz="2200" b="1" dirty="0"/>
              <a:t>More actions</a:t>
            </a:r>
            <a:r>
              <a:rPr lang="en-US" sz="2200" dirty="0"/>
              <a:t>, then choose </a:t>
            </a:r>
            <a:r>
              <a:rPr lang="en-US" sz="2200" b="1" dirty="0"/>
              <a:t>Cancel request</a:t>
            </a:r>
            <a:r>
              <a:rPr lang="en-US" sz="2200" dirty="0"/>
              <a:t>.</a:t>
            </a:r>
          </a:p>
          <a:p>
            <a:pPr lvl="1"/>
            <a:endParaRPr lang="en-US" dirty="0"/>
          </a:p>
        </p:txBody>
      </p:sp>
      <p:pic>
        <p:nvPicPr>
          <p:cNvPr id="6" name="Picture 5" descr="A screenshot of a social media post&#10;&#10;AI-generated content may be incorrect.">
            <a:extLst>
              <a:ext uri="{FF2B5EF4-FFF2-40B4-BE49-F238E27FC236}">
                <a16:creationId xmlns:a16="http://schemas.microsoft.com/office/drawing/2014/main" id="{16F38ED8-5262-3678-7907-E33C82D9490F}"/>
              </a:ext>
            </a:extLst>
          </p:cNvPr>
          <p:cNvPicPr>
            <a:picLocks noChangeAspect="1"/>
          </p:cNvPicPr>
          <p:nvPr/>
        </p:nvPicPr>
        <p:blipFill>
          <a:blip r:embed="rId4"/>
          <a:srcRect/>
          <a:stretch/>
        </p:blipFill>
        <p:spPr>
          <a:xfrm>
            <a:off x="6114271" y="1971036"/>
            <a:ext cx="4984885" cy="1457225"/>
          </a:xfrm>
          <a:prstGeom prst="rect">
            <a:avLst/>
          </a:prstGeom>
        </p:spPr>
      </p:pic>
    </p:spTree>
    <p:extLst>
      <p:ext uri="{BB962C8B-B14F-4D97-AF65-F5344CB8AC3E}">
        <p14:creationId xmlns:p14="http://schemas.microsoft.com/office/powerpoint/2010/main" val="28018059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88FB3-F8BD-24CB-7D02-232E54D7840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407DE8A-0BAC-CB90-D06B-D719AD4346C1}"/>
              </a:ext>
            </a:extLst>
          </p:cNvPr>
          <p:cNvSpPr>
            <a:spLocks noGrp="1"/>
          </p:cNvSpPr>
          <p:nvPr>
            <p:ph type="title"/>
          </p:nvPr>
        </p:nvSpPr>
        <p:spPr bwMode="gray">
          <a:xfrm>
            <a:off x="1092200" y="789687"/>
            <a:ext cx="10007600" cy="604039"/>
          </a:xfrm>
        </p:spPr>
        <p:txBody>
          <a:bodyPr/>
          <a:lstStyle/>
          <a:p>
            <a:r>
              <a:rPr lang="en-US" dirty="0">
                <a:latin typeface="Barlow ExtraBold"/>
              </a:rPr>
              <a:t>Cancel a Request</a:t>
            </a:r>
          </a:p>
        </p:txBody>
      </p:sp>
      <p:sp>
        <p:nvSpPr>
          <p:cNvPr id="7" name="Slide Number Placeholder 6">
            <a:extLst>
              <a:ext uri="{FF2B5EF4-FFF2-40B4-BE49-F238E27FC236}">
                <a16:creationId xmlns:a16="http://schemas.microsoft.com/office/drawing/2014/main" id="{2F85EC45-23C7-5EDA-A47F-A316DB78DEE2}"/>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4</a:t>
            </a:fld>
            <a:endParaRPr lang="en-US" noProof="0" dirty="0"/>
          </a:p>
        </p:txBody>
      </p:sp>
      <p:sp>
        <p:nvSpPr>
          <p:cNvPr id="5" name="Inhaltsplatzhalter 5">
            <a:extLst>
              <a:ext uri="{FF2B5EF4-FFF2-40B4-BE49-F238E27FC236}">
                <a16:creationId xmlns:a16="http://schemas.microsoft.com/office/drawing/2014/main" id="{A6AED4F8-1B41-CA3E-B56B-C880CB3F3CA7}"/>
              </a:ext>
            </a:extLst>
          </p:cNvPr>
          <p:cNvSpPr txBox="1">
            <a:spLocks/>
          </p:cNvSpPr>
          <p:nvPr/>
        </p:nvSpPr>
        <p:spPr bwMode="gray">
          <a:xfrm>
            <a:off x="1092200" y="1926189"/>
            <a:ext cx="4804392" cy="3745024"/>
          </a:xfrm>
          <a:prstGeom prst="rect">
            <a:avLst/>
          </a:prstGeom>
        </p:spPr>
        <p:txBody>
          <a:bodyPr vert="horz" lIns="0" tIns="0" rIns="0" bIns="0" rtlCol="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200" dirty="0"/>
              <a:t>You will be prompted to </a:t>
            </a:r>
            <a:r>
              <a:rPr lang="en-US" sz="2200" b="1" dirty="0"/>
              <a:t>Confirm</a:t>
            </a:r>
            <a:r>
              <a:rPr lang="en-US" sz="2200" dirty="0"/>
              <a:t> you want to cancel the request.</a:t>
            </a:r>
            <a:endParaRPr lang="en-US"/>
          </a:p>
          <a:p>
            <a:pPr lvl="5"/>
            <a:r>
              <a:rPr lang="en-US" sz="2200" dirty="0"/>
              <a:t>The status of your request will then show as Cancelled.</a:t>
            </a:r>
            <a:endParaRPr lang="en-US" dirty="0"/>
          </a:p>
          <a:p>
            <a:pPr lvl="1"/>
            <a:endParaRPr lang="en-US" dirty="0"/>
          </a:p>
        </p:txBody>
      </p:sp>
      <p:pic>
        <p:nvPicPr>
          <p:cNvPr id="4" name="Picture 3" descr="A screenshot of a computer&#10;&#10;AI-generated content may be incorrect.">
            <a:extLst>
              <a:ext uri="{FF2B5EF4-FFF2-40B4-BE49-F238E27FC236}">
                <a16:creationId xmlns:a16="http://schemas.microsoft.com/office/drawing/2014/main" id="{8C5AE097-3E72-7DD8-D321-867B444F56CE}"/>
              </a:ext>
            </a:extLst>
          </p:cNvPr>
          <p:cNvPicPr>
            <a:picLocks noChangeAspect="1"/>
          </p:cNvPicPr>
          <p:nvPr/>
        </p:nvPicPr>
        <p:blipFill>
          <a:blip r:embed="rId4"/>
          <a:srcRect l="8233" t="14907" r="7635" b="10503"/>
          <a:stretch>
            <a:fillRect/>
          </a:stretch>
        </p:blipFill>
        <p:spPr>
          <a:xfrm>
            <a:off x="6871152" y="1947372"/>
            <a:ext cx="3452644" cy="1477146"/>
          </a:xfrm>
          <a:prstGeom prst="rect">
            <a:avLst/>
          </a:prstGeom>
        </p:spPr>
      </p:pic>
      <p:pic>
        <p:nvPicPr>
          <p:cNvPr id="9" name="Picture 8" descr="A screenshot of a social media post&#10;&#10;AI-generated content may be incorrect.">
            <a:extLst>
              <a:ext uri="{FF2B5EF4-FFF2-40B4-BE49-F238E27FC236}">
                <a16:creationId xmlns:a16="http://schemas.microsoft.com/office/drawing/2014/main" id="{7850B216-31EB-474F-55B8-82D8E4676DC1}"/>
              </a:ext>
            </a:extLst>
          </p:cNvPr>
          <p:cNvPicPr>
            <a:picLocks noChangeAspect="1"/>
          </p:cNvPicPr>
          <p:nvPr/>
        </p:nvPicPr>
        <p:blipFill>
          <a:blip r:embed="rId5"/>
          <a:stretch>
            <a:fillRect/>
          </a:stretch>
        </p:blipFill>
        <p:spPr>
          <a:xfrm>
            <a:off x="6093479" y="3839053"/>
            <a:ext cx="5004428" cy="1125425"/>
          </a:xfrm>
          <a:prstGeom prst="rect">
            <a:avLst/>
          </a:prstGeom>
        </p:spPr>
      </p:pic>
    </p:spTree>
    <p:extLst>
      <p:ext uri="{BB962C8B-B14F-4D97-AF65-F5344CB8AC3E}">
        <p14:creationId xmlns:p14="http://schemas.microsoft.com/office/powerpoint/2010/main" val="440620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FB8D-2FD3-49A5-B694-5AD6D2616606}"/>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5F274D8C-D2FB-1F2A-1C9D-BA61FFB513E7}"/>
              </a:ext>
            </a:extLst>
          </p:cNvPr>
          <p:cNvSpPr>
            <a:spLocks noGrp="1"/>
          </p:cNvSpPr>
          <p:nvPr>
            <p:ph idx="1"/>
          </p:nvPr>
        </p:nvSpPr>
        <p:spPr bwMode="gray">
          <a:xfrm>
            <a:off x="1111131" y="1926189"/>
            <a:ext cx="9979204" cy="3726093"/>
          </a:xfrm>
        </p:spPr>
        <p:txBody>
          <a:bodyPr vert="horz" lIns="0" tIns="0" rIns="0" bIns="0" rtlCol="0" anchor="t">
            <a:normAutofit/>
          </a:bodyPr>
          <a:lstStyle/>
          <a:p>
            <a:pPr lvl="5"/>
            <a:r>
              <a:rPr lang="en-US" sz="2000" dirty="0"/>
              <a:t>If you have started a request and it is in draft status, you can delete that draft. You might want to do this if the request no longer applies and you no longer need to send it.</a:t>
            </a:r>
            <a:endParaRPr lang="en-US" sz="2000"/>
          </a:p>
          <a:p>
            <a:pPr lvl="5"/>
            <a:r>
              <a:rPr lang="en-US" sz="2000" dirty="0"/>
              <a:t>Click the three dots on the right side of the request you want to delete. Click </a:t>
            </a:r>
            <a:r>
              <a:rPr lang="en-US" sz="2000" b="1" dirty="0"/>
              <a:t>Delete draft</a:t>
            </a:r>
            <a:r>
              <a:rPr lang="en-US" sz="2000" dirty="0"/>
              <a:t>.</a:t>
            </a:r>
            <a:endParaRPr lang="en-US" sz="2000"/>
          </a:p>
          <a:p>
            <a:pPr lvl="5"/>
            <a:r>
              <a:rPr lang="en-US" sz="2000" dirty="0"/>
              <a:t>You will be prompted to confirm you want to delete the draft. Click the </a:t>
            </a:r>
            <a:r>
              <a:rPr lang="en-US" sz="2000" b="1" dirty="0"/>
              <a:t>Confirm</a:t>
            </a:r>
            <a:r>
              <a:rPr lang="en-US" sz="2000" dirty="0"/>
              <a:t> button. This action is permanent.</a:t>
            </a:r>
            <a:endParaRPr lang="en-US" sz="2000"/>
          </a:p>
          <a:p>
            <a:pPr lvl="5"/>
            <a:endParaRPr lang="en-US" sz="2000" dirty="0"/>
          </a:p>
          <a:p>
            <a:pPr lvl="1"/>
            <a:endParaRPr lang="en-US" dirty="0"/>
          </a:p>
        </p:txBody>
      </p:sp>
      <p:sp>
        <p:nvSpPr>
          <p:cNvPr id="2" name="Titel 1">
            <a:extLst>
              <a:ext uri="{FF2B5EF4-FFF2-40B4-BE49-F238E27FC236}">
                <a16:creationId xmlns:a16="http://schemas.microsoft.com/office/drawing/2014/main" id="{2793A30C-5DCD-F8C4-4FB3-F74988939483}"/>
              </a:ext>
            </a:extLst>
          </p:cNvPr>
          <p:cNvSpPr>
            <a:spLocks noGrp="1"/>
          </p:cNvSpPr>
          <p:nvPr>
            <p:ph type="title"/>
          </p:nvPr>
        </p:nvSpPr>
        <p:spPr bwMode="gray">
          <a:xfrm>
            <a:off x="1092200" y="789687"/>
            <a:ext cx="10007600" cy="604039"/>
          </a:xfrm>
        </p:spPr>
        <p:txBody>
          <a:bodyPr/>
          <a:lstStyle/>
          <a:p>
            <a:r>
              <a:rPr lang="en-US" dirty="0">
                <a:latin typeface="Barlow ExtraBold"/>
              </a:rPr>
              <a:t>Delete a Draft Request</a:t>
            </a:r>
          </a:p>
          <a:p>
            <a:endParaRPr lang="en-US" dirty="0"/>
          </a:p>
        </p:txBody>
      </p:sp>
      <p:sp>
        <p:nvSpPr>
          <p:cNvPr id="4" name="Slide Number Placeholder 3">
            <a:extLst>
              <a:ext uri="{FF2B5EF4-FFF2-40B4-BE49-F238E27FC236}">
                <a16:creationId xmlns:a16="http://schemas.microsoft.com/office/drawing/2014/main" id="{9FDD0572-63CC-DDF1-C6C1-8435E3F6651C}"/>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25</a:t>
            </a:fld>
            <a:endParaRPr lang="en-US" noProof="0" dirty="0"/>
          </a:p>
        </p:txBody>
      </p:sp>
      <p:pic>
        <p:nvPicPr>
          <p:cNvPr id="5" name="Picture 4" descr="A screenshot of a computer&#10;&#10;AI-generated content may be incorrect.">
            <a:extLst>
              <a:ext uri="{FF2B5EF4-FFF2-40B4-BE49-F238E27FC236}">
                <a16:creationId xmlns:a16="http://schemas.microsoft.com/office/drawing/2014/main" id="{8F63CD36-DE8C-2169-E8F8-75FC0C91A0D4}"/>
              </a:ext>
            </a:extLst>
          </p:cNvPr>
          <p:cNvPicPr>
            <a:picLocks noChangeAspect="1"/>
          </p:cNvPicPr>
          <p:nvPr/>
        </p:nvPicPr>
        <p:blipFill>
          <a:blip r:embed="rId3"/>
          <a:srcRect/>
          <a:stretch/>
        </p:blipFill>
        <p:spPr>
          <a:xfrm>
            <a:off x="1425842" y="4589522"/>
            <a:ext cx="5325654" cy="1189440"/>
          </a:xfrm>
          <a:prstGeom prst="rect">
            <a:avLst/>
          </a:prstGeom>
        </p:spPr>
      </p:pic>
      <p:pic>
        <p:nvPicPr>
          <p:cNvPr id="9" name="Picture 8" descr="A screenshot of a computer&#10;&#10;AI-generated content may be incorrect.">
            <a:extLst>
              <a:ext uri="{FF2B5EF4-FFF2-40B4-BE49-F238E27FC236}">
                <a16:creationId xmlns:a16="http://schemas.microsoft.com/office/drawing/2014/main" id="{E958E30F-F652-267F-3DC2-E2E3B529FF46}"/>
              </a:ext>
            </a:extLst>
          </p:cNvPr>
          <p:cNvPicPr>
            <a:picLocks noChangeAspect="1"/>
          </p:cNvPicPr>
          <p:nvPr/>
        </p:nvPicPr>
        <p:blipFill>
          <a:blip r:embed="rId4"/>
          <a:srcRect l="5055" t="13711" r="6658" b="5206"/>
          <a:stretch>
            <a:fillRect/>
          </a:stretch>
        </p:blipFill>
        <p:spPr>
          <a:xfrm>
            <a:off x="7004838" y="4590459"/>
            <a:ext cx="3391736" cy="1481275"/>
          </a:xfrm>
          <a:prstGeom prst="rect">
            <a:avLst/>
          </a:prstGeom>
        </p:spPr>
      </p:pic>
    </p:spTree>
    <p:extLst>
      <p:ext uri="{BB962C8B-B14F-4D97-AF65-F5344CB8AC3E}">
        <p14:creationId xmlns:p14="http://schemas.microsoft.com/office/powerpoint/2010/main" val="30684865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Past Requests and Statuses</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20" name="Titel 19">
            <a:extLst>
              <a:ext uri="{FF2B5EF4-FFF2-40B4-BE49-F238E27FC236}">
                <a16:creationId xmlns:a16="http://schemas.microsoft.com/office/drawing/2014/main" id="{34AA4865-0B93-4027-7CB9-C98D67F469B8}"/>
              </a:ext>
            </a:extLst>
          </p:cNvPr>
          <p:cNvSpPr>
            <a:spLocks noGrp="1"/>
          </p:cNvSpPr>
          <p:nvPr>
            <p:ph type="title"/>
          </p:nvPr>
        </p:nvSpPr>
        <p:spPr/>
        <p:txBody>
          <a:bodyPr/>
          <a:lstStyle/>
          <a:p>
            <a:r>
              <a:rPr lang="en-US" dirty="0">
                <a:latin typeface="Barlow ExtraBold"/>
              </a:rPr>
              <a:t>07</a:t>
            </a:r>
            <a:endParaRPr lang="en-US" noProof="0" dirty="0"/>
          </a:p>
        </p:txBody>
      </p:sp>
    </p:spTree>
    <p:extLst>
      <p:ext uri="{BB962C8B-B14F-4D97-AF65-F5344CB8AC3E}">
        <p14:creationId xmlns:p14="http://schemas.microsoft.com/office/powerpoint/2010/main" val="21669650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56A9A6-6493-F7D0-FC2F-83F25C3A1C96}"/>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E73BB4F0-5A3B-A100-FA64-90427D1CD59E}"/>
              </a:ext>
            </a:extLst>
          </p:cNvPr>
          <p:cNvSpPr>
            <a:spLocks noGrp="1"/>
          </p:cNvSpPr>
          <p:nvPr>
            <p:ph idx="1"/>
          </p:nvPr>
        </p:nvSpPr>
        <p:spPr bwMode="gray">
          <a:xfrm>
            <a:off x="1111131" y="1926189"/>
            <a:ext cx="9979204" cy="3726093"/>
          </a:xfrm>
        </p:spPr>
        <p:txBody>
          <a:bodyPr vert="horz" lIns="0" tIns="0" rIns="0" bIns="0" rtlCol="0" anchor="t">
            <a:normAutofit/>
          </a:bodyPr>
          <a:lstStyle/>
          <a:p>
            <a:pPr lvl="5"/>
            <a:r>
              <a:rPr lang="en-US" sz="1600" dirty="0"/>
              <a:t>You may review any past requests that are in draft status, cancelled status, pending status, or any request in which a conclusion has been reached. </a:t>
            </a:r>
            <a:endParaRPr lang="en-US"/>
          </a:p>
          <a:p>
            <a:pPr lvl="5"/>
            <a:r>
              <a:rPr lang="en-US" sz="1600" dirty="0"/>
              <a:t>From the Home screen or Request screen you will see a list of all past requests.</a:t>
            </a:r>
          </a:p>
          <a:p>
            <a:pPr lvl="5"/>
            <a:r>
              <a:rPr lang="en-US" sz="1600" dirty="0"/>
              <a:t>If you need to view any past request, click on it to open the full details of the request.</a:t>
            </a:r>
          </a:p>
          <a:p>
            <a:pPr lvl="5">
              <a:buChar char="•"/>
            </a:pPr>
            <a:endParaRPr lang="en-US" sz="1600" dirty="0"/>
          </a:p>
          <a:p>
            <a:pPr lvl="1"/>
            <a:endParaRPr lang="en-US" sz="1600" dirty="0"/>
          </a:p>
        </p:txBody>
      </p:sp>
      <p:sp>
        <p:nvSpPr>
          <p:cNvPr id="2" name="Titel 1">
            <a:extLst>
              <a:ext uri="{FF2B5EF4-FFF2-40B4-BE49-F238E27FC236}">
                <a16:creationId xmlns:a16="http://schemas.microsoft.com/office/drawing/2014/main" id="{3126A77D-A9EA-E081-6288-B769D9A992FF}"/>
              </a:ext>
            </a:extLst>
          </p:cNvPr>
          <p:cNvSpPr>
            <a:spLocks noGrp="1"/>
          </p:cNvSpPr>
          <p:nvPr>
            <p:ph type="title"/>
          </p:nvPr>
        </p:nvSpPr>
        <p:spPr bwMode="gray">
          <a:xfrm>
            <a:off x="1092200" y="789687"/>
            <a:ext cx="10007600" cy="604039"/>
          </a:xfrm>
        </p:spPr>
        <p:txBody>
          <a:bodyPr/>
          <a:lstStyle/>
          <a:p>
            <a:r>
              <a:rPr lang="en-US" dirty="0">
                <a:latin typeface="Barlow ExtraBold"/>
              </a:rPr>
              <a:t>Past Requests</a:t>
            </a:r>
          </a:p>
          <a:p>
            <a:endParaRPr lang="en-US" dirty="0"/>
          </a:p>
        </p:txBody>
      </p:sp>
      <p:sp>
        <p:nvSpPr>
          <p:cNvPr id="4" name="Slide Number Placeholder 3">
            <a:extLst>
              <a:ext uri="{FF2B5EF4-FFF2-40B4-BE49-F238E27FC236}">
                <a16:creationId xmlns:a16="http://schemas.microsoft.com/office/drawing/2014/main" id="{C640535D-0CBE-BC6F-A48B-B6CC73E379B7}"/>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27</a:t>
            </a:fld>
            <a:endParaRPr lang="en-US" noProof="0" dirty="0"/>
          </a:p>
        </p:txBody>
      </p:sp>
      <p:pic>
        <p:nvPicPr>
          <p:cNvPr id="7" name="Picture 6" descr="A screenshot of a chat&#10;&#10;AI-generated content may be incorrect.">
            <a:extLst>
              <a:ext uri="{FF2B5EF4-FFF2-40B4-BE49-F238E27FC236}">
                <a16:creationId xmlns:a16="http://schemas.microsoft.com/office/drawing/2014/main" id="{357055A6-B43F-7272-5DB3-9665F463E594}"/>
              </a:ext>
            </a:extLst>
          </p:cNvPr>
          <p:cNvPicPr>
            <a:picLocks noChangeAspect="1"/>
          </p:cNvPicPr>
          <p:nvPr/>
        </p:nvPicPr>
        <p:blipFill>
          <a:blip r:embed="rId3"/>
          <a:srcRect/>
          <a:stretch/>
        </p:blipFill>
        <p:spPr>
          <a:xfrm>
            <a:off x="3591625" y="3509020"/>
            <a:ext cx="5017651" cy="2685426"/>
          </a:xfrm>
          <a:prstGeom prst="rect">
            <a:avLst/>
          </a:prstGeom>
        </p:spPr>
      </p:pic>
    </p:spTree>
    <p:extLst>
      <p:ext uri="{BB962C8B-B14F-4D97-AF65-F5344CB8AC3E}">
        <p14:creationId xmlns:p14="http://schemas.microsoft.com/office/powerpoint/2010/main" val="16315204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B55C21-6630-CB14-AE2E-CAAB3BC55268}"/>
              </a:ext>
            </a:extLst>
          </p:cNvPr>
          <p:cNvSpPr>
            <a:spLocks noGrp="1"/>
          </p:cNvSpPr>
          <p:nvPr>
            <p:ph type="title"/>
          </p:nvPr>
        </p:nvSpPr>
        <p:spPr bwMode="gray">
          <a:xfrm>
            <a:off x="1092200" y="2658668"/>
            <a:ext cx="4895850" cy="1540664"/>
          </a:xfrm>
        </p:spPr>
        <p:txBody>
          <a:bodyPr/>
          <a:lstStyle/>
          <a:p>
            <a:r>
              <a:rPr lang="en-US" noProof="0" dirty="0"/>
              <a:t>Thank you </a:t>
            </a:r>
            <a:br>
              <a:rPr lang="en-US" noProof="0" dirty="0"/>
            </a:br>
            <a:r>
              <a:rPr lang="en-US" noProof="0" dirty="0"/>
              <a:t>for your attention</a:t>
            </a:r>
          </a:p>
        </p:txBody>
      </p:sp>
      <p:pic>
        <p:nvPicPr>
          <p:cNvPr id="3" name="Bildplatzhalter 55" descr="Ein Bild, das Quadrat enthält.&#10;&#10;Automatisch generierte Beschreibung">
            <a:extLst>
              <a:ext uri="{FF2B5EF4-FFF2-40B4-BE49-F238E27FC236}">
                <a16:creationId xmlns:a16="http://schemas.microsoft.com/office/drawing/2014/main" id="{D1C78979-925A-7CDB-9CDD-C28E10B99D1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26" b="26"/>
          <a:stretch/>
        </p:blipFill>
        <p:spPr bwMode="gray">
          <a:xfrm>
            <a:off x="3694788" y="0"/>
            <a:ext cx="8497212" cy="6858000"/>
          </a:xfrm>
        </p:spPr>
      </p:pic>
    </p:spTree>
    <p:extLst>
      <p:ext uri="{BB962C8B-B14F-4D97-AF65-F5344CB8AC3E}">
        <p14:creationId xmlns:p14="http://schemas.microsoft.com/office/powerpoint/2010/main" val="137892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noProof="0" dirty="0"/>
              <a:t>Navigate to Integrity Hub</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en-US" noProof="0" dirty="0"/>
              <a:t>01</a:t>
            </a:r>
          </a:p>
        </p:txBody>
      </p:sp>
    </p:spTree>
    <p:extLst>
      <p:ext uri="{BB962C8B-B14F-4D97-AF65-F5344CB8AC3E}">
        <p14:creationId xmlns:p14="http://schemas.microsoft.com/office/powerpoint/2010/main" val="368439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55" descr="A screenshot of a login form&#10;&#10;AI-generated content may be incorrect.">
            <a:extLst>
              <a:ext uri="{FF2B5EF4-FFF2-40B4-BE49-F238E27FC236}">
                <a16:creationId xmlns:a16="http://schemas.microsoft.com/office/drawing/2014/main" id="{B0C87A08-D104-7429-6196-1949FBC313CA}"/>
              </a:ext>
            </a:extLst>
          </p:cNvPr>
          <p:cNvPicPr>
            <a:picLocks noGrp="1" noChangeAspect="1"/>
          </p:cNvPicPr>
          <p:nvPr>
            <p:ph type="pic" sz="quarter" idx="13"/>
          </p:nvPr>
        </p:nvPicPr>
        <p:blipFill>
          <a:blip r:embed="rId3"/>
          <a:srcRect l="3293" r="3293"/>
          <a:stretch/>
        </p:blipFill>
        <p:spPr bwMode="gray">
          <a:xfrm>
            <a:off x="1092200" y="1924476"/>
            <a:ext cx="3709476" cy="4144797"/>
          </a:xfrm>
        </p:spPr>
      </p:pic>
      <p:sp>
        <p:nvSpPr>
          <p:cNvPr id="2" name="Titel 1"/>
          <p:cNvSpPr>
            <a:spLocks noGrp="1"/>
          </p:cNvSpPr>
          <p:nvPr>
            <p:ph type="title"/>
          </p:nvPr>
        </p:nvSpPr>
        <p:spPr bwMode="gray">
          <a:xfrm>
            <a:off x="1092200" y="789687"/>
            <a:ext cx="10007600" cy="604039"/>
          </a:xfrm>
        </p:spPr>
        <p:txBody>
          <a:bodyPr/>
          <a:lstStyle/>
          <a:p>
            <a:r>
              <a:rPr lang="en-US" noProof="0" dirty="0"/>
              <a:t>Navigate to Integrity Hub</a:t>
            </a:r>
          </a:p>
        </p:txBody>
      </p:sp>
      <p:sp>
        <p:nvSpPr>
          <p:cNvPr id="7" name="Slide Number Placeholder 6">
            <a:extLst>
              <a:ext uri="{FF2B5EF4-FFF2-40B4-BE49-F238E27FC236}">
                <a16:creationId xmlns:a16="http://schemas.microsoft.com/office/drawing/2014/main" id="{958EB4E7-E9B9-B09B-8AF2-5DEEF465E92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4</a:t>
            </a:fld>
            <a:endParaRPr lang="en-US" noProof="0" dirty="0"/>
          </a:p>
        </p:txBody>
      </p:sp>
      <p:sp>
        <p:nvSpPr>
          <p:cNvPr id="5" name="Inhaltsplatzhalter 5">
            <a:extLst>
              <a:ext uri="{FF2B5EF4-FFF2-40B4-BE49-F238E27FC236}">
                <a16:creationId xmlns:a16="http://schemas.microsoft.com/office/drawing/2014/main" id="{0ED6258D-65CE-BE6D-C62F-D9CA7544A291}"/>
              </a:ext>
            </a:extLst>
          </p:cNvPr>
          <p:cNvSpPr txBox="1">
            <a:spLocks/>
          </p:cNvSpPr>
          <p:nvPr/>
        </p:nvSpPr>
        <p:spPr bwMode="gray">
          <a:xfrm>
            <a:off x="5413991" y="1926189"/>
            <a:ext cx="5691496"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dirty="0"/>
              <a:t>Integrity Hub URL: </a:t>
            </a:r>
            <a:r>
              <a:rPr lang="en-US" dirty="0">
                <a:hlinkClick r:id="rId5"/>
              </a:rPr>
              <a:t>https://www.integrityhub.net</a:t>
            </a:r>
            <a:endParaRPr lang="en-US">
              <a:solidFill>
                <a:srgbClr val="000000"/>
              </a:solidFill>
            </a:endParaRPr>
          </a:p>
          <a:p>
            <a:pPr lvl="5"/>
            <a:r>
              <a:rPr lang="en-US" dirty="0"/>
              <a:t>Log in with your credentials</a:t>
            </a:r>
          </a:p>
          <a:p>
            <a:pPr lvl="5"/>
            <a:r>
              <a:rPr lang="en-US" i="1" dirty="0"/>
              <a:t>Note: Your company may have a slightly different URL. Update the URL above as needed.</a:t>
            </a:r>
            <a:endParaRPr lang="en-US"/>
          </a:p>
          <a:p>
            <a:pPr lvl="1"/>
            <a:endParaRPr lang="en-US" dirty="0"/>
          </a:p>
        </p:txBody>
      </p:sp>
    </p:spTree>
    <p:extLst>
      <p:ext uri="{BB962C8B-B14F-4D97-AF65-F5344CB8AC3E}">
        <p14:creationId xmlns:p14="http://schemas.microsoft.com/office/powerpoint/2010/main" val="3763710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Starting a Request &amp; Types of Requests</a:t>
            </a:r>
            <a:endParaRPr lang="en-US"/>
          </a:p>
          <a:p>
            <a:pPr lvl="1"/>
            <a:endParaRPr lang="en-US" noProof="0"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9D7D3024-8904-53B0-A014-48A0A07E480F}"/>
              </a:ext>
            </a:extLst>
          </p:cNvPr>
          <p:cNvSpPr>
            <a:spLocks noGrp="1"/>
          </p:cNvSpPr>
          <p:nvPr>
            <p:ph type="title"/>
          </p:nvPr>
        </p:nvSpPr>
        <p:spPr/>
        <p:txBody>
          <a:bodyPr/>
          <a:lstStyle/>
          <a:p>
            <a:r>
              <a:rPr lang="en-US" dirty="0">
                <a:latin typeface="Barlow ExtraBold"/>
              </a:rPr>
              <a:t>02</a:t>
            </a:r>
            <a:endParaRPr lang="en-US" noProof="0" dirty="0"/>
          </a:p>
        </p:txBody>
      </p:sp>
    </p:spTree>
    <p:extLst>
      <p:ext uri="{BB962C8B-B14F-4D97-AF65-F5344CB8AC3E}">
        <p14:creationId xmlns:p14="http://schemas.microsoft.com/office/powerpoint/2010/main" val="3777196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bwMode="gray">
          <a:xfrm>
            <a:off x="1092200" y="1926189"/>
            <a:ext cx="10007600" cy="3745024"/>
          </a:xfrm>
        </p:spPr>
        <p:txBody>
          <a:bodyPr vert="horz" lIns="0" tIns="0" rIns="0" bIns="0" rtlCol="0" anchor="t">
            <a:normAutofit/>
          </a:bodyPr>
          <a:lstStyle/>
          <a:p>
            <a:pPr lvl="5"/>
            <a:r>
              <a:rPr lang="en-US" sz="2000" dirty="0"/>
              <a:t>On the Home screen, click the Create request button.</a:t>
            </a:r>
          </a:p>
          <a:p>
            <a:pPr lvl="5"/>
            <a:r>
              <a:rPr lang="en-US" sz="2000" dirty="0"/>
              <a:t>Choose the type of request from the Create request dropdown button.</a:t>
            </a:r>
          </a:p>
          <a:p>
            <a:pPr lvl="5"/>
            <a:r>
              <a:rPr lang="en-US" sz="2000" dirty="0"/>
              <a:t>Note: Your organization may or may not have a welcome paragraph at the top of this screen</a:t>
            </a:r>
          </a:p>
          <a:p>
            <a:pPr lvl="1"/>
            <a:endParaRPr lang="en-US" dirty="0"/>
          </a:p>
        </p:txBody>
      </p:sp>
      <p:sp>
        <p:nvSpPr>
          <p:cNvPr id="2" name="Titel 1"/>
          <p:cNvSpPr>
            <a:spLocks noGrp="1"/>
          </p:cNvSpPr>
          <p:nvPr>
            <p:ph type="title"/>
          </p:nvPr>
        </p:nvSpPr>
        <p:spPr bwMode="gray">
          <a:xfrm>
            <a:off x="1092200" y="789687"/>
            <a:ext cx="10007600" cy="604039"/>
          </a:xfrm>
        </p:spPr>
        <p:txBody>
          <a:bodyPr/>
          <a:lstStyle/>
          <a:p>
            <a:r>
              <a:rPr lang="en-US">
                <a:latin typeface="Barlow ExtraBold"/>
              </a:rPr>
              <a:t>Starting a Request: Option 1</a:t>
            </a:r>
          </a:p>
          <a:p>
            <a:endParaRPr lang="en-US" noProof="0" dirty="0"/>
          </a:p>
        </p:txBody>
      </p:sp>
      <p:sp>
        <p:nvSpPr>
          <p:cNvPr id="4" name="Slide Number Placeholder 3">
            <a:extLst>
              <a:ext uri="{FF2B5EF4-FFF2-40B4-BE49-F238E27FC236}">
                <a16:creationId xmlns:a16="http://schemas.microsoft.com/office/drawing/2014/main" id="{5D43AB3B-3F79-1F84-FE50-45B17F1B69EF}"/>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6</a:t>
            </a:fld>
            <a:endParaRPr lang="en-US" noProof="0" dirty="0"/>
          </a:p>
        </p:txBody>
      </p:sp>
      <p:pic>
        <p:nvPicPr>
          <p:cNvPr id="7" name="Picture 6" descr="A screenshot of a email&#10;&#10;AI-generated content may be incorrect.">
            <a:extLst>
              <a:ext uri="{FF2B5EF4-FFF2-40B4-BE49-F238E27FC236}">
                <a16:creationId xmlns:a16="http://schemas.microsoft.com/office/drawing/2014/main" id="{FD8586F6-6F31-09BA-43A0-3F488DAED291}"/>
              </a:ext>
            </a:extLst>
          </p:cNvPr>
          <p:cNvPicPr>
            <a:picLocks noChangeAspect="1"/>
          </p:cNvPicPr>
          <p:nvPr/>
        </p:nvPicPr>
        <p:blipFill>
          <a:blip r:embed="rId3"/>
          <a:stretch>
            <a:fillRect/>
          </a:stretch>
        </p:blipFill>
        <p:spPr>
          <a:xfrm>
            <a:off x="3301479" y="3667694"/>
            <a:ext cx="5589044" cy="2530809"/>
          </a:xfrm>
          <a:prstGeom prst="rect">
            <a:avLst/>
          </a:prstGeom>
        </p:spPr>
      </p:pic>
    </p:spTree>
    <p:extLst>
      <p:ext uri="{BB962C8B-B14F-4D97-AF65-F5344CB8AC3E}">
        <p14:creationId xmlns:p14="http://schemas.microsoft.com/office/powerpoint/2010/main" val="4018379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BA1EF-24D8-03A9-D7F3-B8C3C3F281D5}"/>
            </a:ext>
          </a:extLst>
        </p:cNvPr>
        <p:cNvGrpSpPr/>
        <p:nvPr/>
      </p:nvGrpSpPr>
      <p:grpSpPr>
        <a:xfrm>
          <a:off x="0" y="0"/>
          <a:ext cx="0" cy="0"/>
          <a:chOff x="0" y="0"/>
          <a:chExt cx="0" cy="0"/>
        </a:xfrm>
      </p:grpSpPr>
      <p:sp>
        <p:nvSpPr>
          <p:cNvPr id="6" name="Inhaltsplatzhalter 5">
            <a:extLst>
              <a:ext uri="{FF2B5EF4-FFF2-40B4-BE49-F238E27FC236}">
                <a16:creationId xmlns:a16="http://schemas.microsoft.com/office/drawing/2014/main" id="{26E5B58C-9F68-8EB0-7317-385BAD76816F}"/>
              </a:ext>
            </a:extLst>
          </p:cNvPr>
          <p:cNvSpPr>
            <a:spLocks noGrp="1"/>
          </p:cNvSpPr>
          <p:nvPr>
            <p:ph idx="1"/>
          </p:nvPr>
        </p:nvSpPr>
        <p:spPr bwMode="gray">
          <a:xfrm>
            <a:off x="1092200" y="1926189"/>
            <a:ext cx="10007600" cy="3745024"/>
          </a:xfrm>
        </p:spPr>
        <p:txBody>
          <a:bodyPr vert="horz" lIns="0" tIns="0" rIns="0" bIns="0" rtlCol="0" anchor="t">
            <a:normAutofit/>
          </a:bodyPr>
          <a:lstStyle/>
          <a:p>
            <a:pPr lvl="5"/>
            <a:r>
              <a:rPr lang="en-US" sz="2000" dirty="0"/>
              <a:t>Click the Requests icon from the left menu, then click the </a:t>
            </a:r>
            <a:r>
              <a:rPr lang="en-US" sz="2000" b="1" dirty="0"/>
              <a:t>Create request</a:t>
            </a:r>
            <a:r>
              <a:rPr lang="en-US" sz="2000" dirty="0"/>
              <a:t> button.</a:t>
            </a:r>
          </a:p>
          <a:p>
            <a:pPr lvl="5"/>
            <a:r>
              <a:rPr lang="en-US" sz="2000" dirty="0"/>
              <a:t>Choose the type of request from the dropdown</a:t>
            </a:r>
          </a:p>
          <a:p>
            <a:pPr lvl="5"/>
            <a:r>
              <a:rPr lang="en-US" sz="2000" dirty="0"/>
              <a:t>Note: On this page, you will see any past Requests and can make updates when needed</a:t>
            </a:r>
            <a:endParaRPr lang="en-US" sz="2000"/>
          </a:p>
          <a:p>
            <a:pPr lvl="5"/>
            <a:endParaRPr lang="en-US" sz="2000" dirty="0"/>
          </a:p>
          <a:p>
            <a:pPr lvl="1"/>
            <a:endParaRPr lang="en-US" dirty="0"/>
          </a:p>
        </p:txBody>
      </p:sp>
      <p:sp>
        <p:nvSpPr>
          <p:cNvPr id="2" name="Titel 1">
            <a:extLst>
              <a:ext uri="{FF2B5EF4-FFF2-40B4-BE49-F238E27FC236}">
                <a16:creationId xmlns:a16="http://schemas.microsoft.com/office/drawing/2014/main" id="{FDDD0673-2FF3-46A5-2A05-D01770C971E6}"/>
              </a:ext>
            </a:extLst>
          </p:cNvPr>
          <p:cNvSpPr>
            <a:spLocks noGrp="1"/>
          </p:cNvSpPr>
          <p:nvPr>
            <p:ph type="title"/>
          </p:nvPr>
        </p:nvSpPr>
        <p:spPr bwMode="gray">
          <a:xfrm>
            <a:off x="1092200" y="789687"/>
            <a:ext cx="10007600" cy="604039"/>
          </a:xfrm>
        </p:spPr>
        <p:txBody>
          <a:bodyPr/>
          <a:lstStyle/>
          <a:p>
            <a:r>
              <a:rPr lang="en-US" dirty="0">
                <a:latin typeface="Barlow ExtraBold"/>
              </a:rPr>
              <a:t>Starting a Request: Option 2</a:t>
            </a:r>
          </a:p>
          <a:p>
            <a:endParaRPr lang="en-US" noProof="0" dirty="0"/>
          </a:p>
        </p:txBody>
      </p:sp>
      <p:sp>
        <p:nvSpPr>
          <p:cNvPr id="4" name="Slide Number Placeholder 3">
            <a:extLst>
              <a:ext uri="{FF2B5EF4-FFF2-40B4-BE49-F238E27FC236}">
                <a16:creationId xmlns:a16="http://schemas.microsoft.com/office/drawing/2014/main" id="{ACF5823B-783C-7F35-35FF-749E4895B88A}"/>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7</a:t>
            </a:fld>
            <a:endParaRPr lang="en-US" noProof="0" dirty="0"/>
          </a:p>
        </p:txBody>
      </p:sp>
      <p:pic>
        <p:nvPicPr>
          <p:cNvPr id="8" name="Picture 7" descr="A screenshot of a message&#10;&#10;AI-generated content may be incorrect.">
            <a:extLst>
              <a:ext uri="{FF2B5EF4-FFF2-40B4-BE49-F238E27FC236}">
                <a16:creationId xmlns:a16="http://schemas.microsoft.com/office/drawing/2014/main" id="{3EA5F4C3-B9C1-4A83-D74F-744933014694}"/>
              </a:ext>
            </a:extLst>
          </p:cNvPr>
          <p:cNvPicPr>
            <a:picLocks noChangeAspect="1"/>
          </p:cNvPicPr>
          <p:nvPr/>
        </p:nvPicPr>
        <p:blipFill>
          <a:blip r:embed="rId3"/>
          <a:stretch>
            <a:fillRect/>
          </a:stretch>
        </p:blipFill>
        <p:spPr>
          <a:xfrm>
            <a:off x="2763673" y="3427523"/>
            <a:ext cx="6670344" cy="2470923"/>
          </a:xfrm>
          <a:prstGeom prst="rect">
            <a:avLst/>
          </a:prstGeom>
        </p:spPr>
      </p:pic>
    </p:spTree>
    <p:extLst>
      <p:ext uri="{BB962C8B-B14F-4D97-AF65-F5344CB8AC3E}">
        <p14:creationId xmlns:p14="http://schemas.microsoft.com/office/powerpoint/2010/main" val="28803532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a:extLst>
              <a:ext uri="{FF2B5EF4-FFF2-40B4-BE49-F238E27FC236}">
                <a16:creationId xmlns:a16="http://schemas.microsoft.com/office/drawing/2014/main" id="{73D56BCE-1616-33A7-C4DE-D883B306A145}"/>
              </a:ext>
            </a:extLst>
          </p:cNvPr>
          <p:cNvSpPr>
            <a:spLocks noGrp="1"/>
          </p:cNvSpPr>
          <p:nvPr>
            <p:ph type="subTitle" idx="12"/>
          </p:nvPr>
        </p:nvSpPr>
        <p:spPr bwMode="gray">
          <a:xfrm>
            <a:off x="1091444" y="1427305"/>
            <a:ext cx="10009112" cy="381515"/>
          </a:xfrm>
        </p:spPr>
        <p:txBody>
          <a:bodyPr/>
          <a:lstStyle/>
          <a:p>
            <a:r>
              <a:rPr lang="en-US" noProof="0" dirty="0"/>
              <a:t> </a:t>
            </a:r>
          </a:p>
        </p:txBody>
      </p:sp>
      <p:sp>
        <p:nvSpPr>
          <p:cNvPr id="2" name="Titel 1"/>
          <p:cNvSpPr>
            <a:spLocks noGrp="1"/>
          </p:cNvSpPr>
          <p:nvPr>
            <p:ph type="title"/>
          </p:nvPr>
        </p:nvSpPr>
        <p:spPr bwMode="gray">
          <a:xfrm>
            <a:off x="1092200" y="789687"/>
            <a:ext cx="10007600" cy="604039"/>
          </a:xfrm>
        </p:spPr>
        <p:txBody>
          <a:bodyPr/>
          <a:lstStyle/>
          <a:p>
            <a:r>
              <a:rPr lang="en-US" noProof="0" dirty="0"/>
              <a:t>Types of Requests</a:t>
            </a:r>
          </a:p>
        </p:txBody>
      </p:sp>
      <p:sp>
        <p:nvSpPr>
          <p:cNvPr id="7" name="Slide Number Placeholder 6">
            <a:extLst>
              <a:ext uri="{FF2B5EF4-FFF2-40B4-BE49-F238E27FC236}">
                <a16:creationId xmlns:a16="http://schemas.microsoft.com/office/drawing/2014/main" id="{E743048D-4CE5-7C8E-1998-E35C5005A57B}"/>
              </a:ext>
            </a:extLst>
          </p:cNvPr>
          <p:cNvSpPr>
            <a:spLocks noGrp="1"/>
          </p:cNvSpPr>
          <p:nvPr>
            <p:ph type="sldNum" sz="quarter" idx="13"/>
          </p:nvPr>
        </p:nvSpPr>
        <p:spPr>
          <a:xfrm>
            <a:off x="11526329" y="6198777"/>
            <a:ext cx="665672" cy="659223"/>
          </a:xfrm>
        </p:spPr>
        <p:txBody>
          <a:bodyPr/>
          <a:lstStyle/>
          <a:p>
            <a:fld id="{44661A95-0089-4306-9485-D330C59FE3ED}" type="slidenum">
              <a:rPr lang="en-US" noProof="0" smtClean="0"/>
              <a:pPr/>
              <a:t>8</a:t>
            </a:fld>
            <a:endParaRPr lang="en-US" noProof="0" dirty="0"/>
          </a:p>
        </p:txBody>
      </p:sp>
      <p:sp>
        <p:nvSpPr>
          <p:cNvPr id="8" name="Textplatzhalter 4">
            <a:extLst>
              <a:ext uri="{FF2B5EF4-FFF2-40B4-BE49-F238E27FC236}">
                <a16:creationId xmlns:a16="http://schemas.microsoft.com/office/drawing/2014/main" id="{200E1F25-F014-0DEF-808D-07BD930C105E}"/>
              </a:ext>
            </a:extLst>
          </p:cNvPr>
          <p:cNvSpPr txBox="1">
            <a:spLocks/>
          </p:cNvSpPr>
          <p:nvPr/>
        </p:nvSpPr>
        <p:spPr bwMode="gray">
          <a:xfrm>
            <a:off x="8314066" y="2328450"/>
            <a:ext cx="2952000" cy="3270684"/>
          </a:xfrm>
          <a:prstGeom prst="rect">
            <a:avLst/>
          </a:prstGeom>
          <a:solidFill>
            <a:srgbClr val="ECEFF8"/>
          </a:solidFill>
          <a:ln w="139700" cap="rnd">
            <a:solidFill>
              <a:schemeClr val="tx2"/>
            </a:solidFill>
            <a:round/>
          </a:ln>
        </p:spPr>
        <p:txBody>
          <a:bodyPr lIns="180000" tIns="504000" rIns="180000" bIns="180000"/>
          <a:lstStyle>
            <a:lvl1pPr marL="0" indent="0" algn="ctr" defTabSz="914400" rtl="0" eaLnBrk="1" latinLnBrk="0" hangingPunct="1">
              <a:lnSpc>
                <a:spcPct val="110000"/>
              </a:lnSpc>
              <a:spcBef>
                <a:spcPts val="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ctr" defTabSz="914400" rtl="0" eaLnBrk="1" latinLnBrk="0" hangingPunct="1">
              <a:lnSpc>
                <a:spcPct val="110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3pPr>
            <a:lvl4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4pPr>
            <a:lvl5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5pPr>
            <a:lvl6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6pPr>
            <a:lvl7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7pPr>
            <a:lvl8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8pPr>
            <a:lvl9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9pPr>
          </a:lstStyle>
          <a:p>
            <a:r>
              <a:rPr lang="en-US" b="1" noProof="0" dirty="0"/>
              <a:t>Gifts</a:t>
            </a:r>
            <a:r>
              <a:rPr lang="en-US" noProof="0" dirty="0"/>
              <a:t>:  Gifts can refer to cash, donations, sponsorships, services, food/beverage, flowers, luxury items, or other items given or received</a:t>
            </a:r>
          </a:p>
        </p:txBody>
      </p:sp>
      <p:sp>
        <p:nvSpPr>
          <p:cNvPr id="9" name="Textplatzhalter 4">
            <a:extLst>
              <a:ext uri="{FF2B5EF4-FFF2-40B4-BE49-F238E27FC236}">
                <a16:creationId xmlns:a16="http://schemas.microsoft.com/office/drawing/2014/main" id="{EE0AC3CA-068B-3654-BBDF-85F192E6FE1B}"/>
              </a:ext>
            </a:extLst>
          </p:cNvPr>
          <p:cNvSpPr txBox="1">
            <a:spLocks/>
          </p:cNvSpPr>
          <p:nvPr/>
        </p:nvSpPr>
        <p:spPr bwMode="gray">
          <a:xfrm>
            <a:off x="4609726" y="2349327"/>
            <a:ext cx="2952000" cy="3270684"/>
          </a:xfrm>
          <a:prstGeom prst="rect">
            <a:avLst/>
          </a:prstGeom>
          <a:solidFill>
            <a:srgbClr val="ECEFF8"/>
          </a:solidFill>
          <a:ln w="139700" cap="rnd">
            <a:solidFill>
              <a:schemeClr val="tx2"/>
            </a:solidFill>
            <a:round/>
          </a:ln>
        </p:spPr>
        <p:txBody>
          <a:bodyPr lIns="180000" tIns="504000" rIns="180000" bIns="180000"/>
          <a:lstStyle>
            <a:lvl1pPr marL="0" indent="0" algn="ctr" defTabSz="914400" rtl="0" eaLnBrk="1" latinLnBrk="0" hangingPunct="1">
              <a:lnSpc>
                <a:spcPct val="110000"/>
              </a:lnSpc>
              <a:spcBef>
                <a:spcPts val="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ctr" defTabSz="914400" rtl="0" eaLnBrk="1" latinLnBrk="0" hangingPunct="1">
              <a:lnSpc>
                <a:spcPct val="110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3pPr>
            <a:lvl4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4pPr>
            <a:lvl5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5pPr>
            <a:lvl6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6pPr>
            <a:lvl7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7pPr>
            <a:lvl8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8pPr>
            <a:lvl9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9pPr>
          </a:lstStyle>
          <a:p>
            <a:r>
              <a:rPr lang="en-US" b="1" noProof="0" dirty="0"/>
              <a:t>Invitations</a:t>
            </a:r>
            <a:r>
              <a:rPr lang="en-US" noProof="0" dirty="0"/>
              <a:t>:  Invitations can refer to meals, conferences, travel, social, or other invitations issued by the company or business partners </a:t>
            </a:r>
          </a:p>
        </p:txBody>
      </p:sp>
      <p:sp>
        <p:nvSpPr>
          <p:cNvPr id="10" name="Textplatzhalter 4">
            <a:extLst>
              <a:ext uri="{FF2B5EF4-FFF2-40B4-BE49-F238E27FC236}">
                <a16:creationId xmlns:a16="http://schemas.microsoft.com/office/drawing/2014/main" id="{ED9EC9CB-1B20-4978-851F-1BAB2D54082B}"/>
              </a:ext>
            </a:extLst>
          </p:cNvPr>
          <p:cNvSpPr txBox="1">
            <a:spLocks/>
          </p:cNvSpPr>
          <p:nvPr/>
        </p:nvSpPr>
        <p:spPr bwMode="gray">
          <a:xfrm>
            <a:off x="863644" y="2349327"/>
            <a:ext cx="2952000" cy="3270684"/>
          </a:xfrm>
          <a:prstGeom prst="rect">
            <a:avLst/>
          </a:prstGeom>
          <a:solidFill>
            <a:srgbClr val="ECEFF8"/>
          </a:solidFill>
          <a:ln w="139700" cap="rnd">
            <a:solidFill>
              <a:schemeClr val="tx2"/>
            </a:solidFill>
            <a:round/>
          </a:ln>
        </p:spPr>
        <p:txBody>
          <a:bodyPr lIns="180000" tIns="504000" rIns="180000" bIns="180000" anchor="t"/>
          <a:lstStyle>
            <a:lvl1pPr marL="0" indent="0" algn="ctr" defTabSz="914400" rtl="0" eaLnBrk="1" latinLnBrk="0" hangingPunct="1">
              <a:lnSpc>
                <a:spcPct val="110000"/>
              </a:lnSpc>
              <a:spcBef>
                <a:spcPts val="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ctr" defTabSz="914400" rtl="0" eaLnBrk="1" latinLnBrk="0" hangingPunct="1">
              <a:lnSpc>
                <a:spcPct val="110000"/>
              </a:lnSpc>
              <a:spcBef>
                <a:spcPts val="0"/>
              </a:spcBef>
              <a:spcAft>
                <a:spcPts val="0"/>
              </a:spcAft>
              <a:buFont typeface="Arial" panose="020B0604020202020204" pitchFamily="34" charset="0"/>
              <a:buNone/>
              <a:defRPr sz="2000" kern="1200">
                <a:solidFill>
                  <a:schemeClr val="tx1"/>
                </a:solidFill>
                <a:latin typeface="+mn-lt"/>
                <a:ea typeface="+mn-ea"/>
                <a:cs typeface="+mn-cs"/>
              </a:defRPr>
            </a:lvl2pPr>
            <a:lvl3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3pPr>
            <a:lvl4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4pPr>
            <a:lvl5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5pPr>
            <a:lvl6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6pPr>
            <a:lvl7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7pPr>
            <a:lvl8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8pPr>
            <a:lvl9pPr marL="0" indent="0" algn="ctr" defTabSz="914400" rtl="0" eaLnBrk="1" latinLnBrk="0" hangingPunct="1">
              <a:lnSpc>
                <a:spcPct val="110000"/>
              </a:lnSpc>
              <a:spcBef>
                <a:spcPts val="0"/>
              </a:spcBef>
              <a:spcAft>
                <a:spcPts val="0"/>
              </a:spcAft>
              <a:buClr>
                <a:schemeClr val="accent1"/>
              </a:buClr>
              <a:buFont typeface="Arial" panose="020B0604020202020204" pitchFamily="34" charset="0"/>
              <a:buNone/>
              <a:defRPr sz="2000" kern="1200">
                <a:solidFill>
                  <a:schemeClr val="tx1"/>
                </a:solidFill>
                <a:latin typeface="+mn-lt"/>
                <a:ea typeface="+mn-ea"/>
                <a:cs typeface="+mn-cs"/>
              </a:defRPr>
            </a:lvl9pPr>
          </a:lstStyle>
          <a:p>
            <a:r>
              <a:rPr lang="en-US" b="1" noProof="0" dirty="0"/>
              <a:t>Conflict of Interest</a:t>
            </a:r>
            <a:r>
              <a:rPr lang="en-US" noProof="0" dirty="0"/>
              <a:t>:  </a:t>
            </a:r>
            <a:r>
              <a:rPr lang="en-US" dirty="0"/>
              <a:t>Can</a:t>
            </a:r>
            <a:r>
              <a:rPr lang="en-US" noProof="0" dirty="0"/>
              <a:t> refer to workplace relationships, outside engagements, outside employments, personal financial interests, or other types of conflicts of interest</a:t>
            </a:r>
          </a:p>
        </p:txBody>
      </p:sp>
      <p:sp>
        <p:nvSpPr>
          <p:cNvPr id="11" name="Rechteck: abgerundete Ecken 10">
            <a:extLst>
              <a:ext uri="{FF2B5EF4-FFF2-40B4-BE49-F238E27FC236}">
                <a16:creationId xmlns:a16="http://schemas.microsoft.com/office/drawing/2014/main" id="{45564146-775F-7D6F-07FD-F9EE0A95F037}"/>
              </a:ext>
            </a:extLst>
          </p:cNvPr>
          <p:cNvSpPr/>
          <p:nvPr/>
        </p:nvSpPr>
        <p:spPr bwMode="gray">
          <a:xfrm>
            <a:off x="9501858" y="1752386"/>
            <a:ext cx="720000" cy="720000"/>
          </a:xfrm>
          <a:prstGeom prst="rect">
            <a:avLst/>
          </a:prstGeom>
          <a:solidFill>
            <a:schemeClr val="accent1"/>
          </a:solidFill>
          <a:ln w="1397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18000"/>
              </a:lnSpc>
              <a:spcBef>
                <a:spcPts val="600"/>
              </a:spcBef>
            </a:pPr>
            <a:endParaRPr lang="en-US" noProof="0" dirty="0">
              <a:solidFill>
                <a:schemeClr val="tx1"/>
              </a:solidFill>
            </a:endParaRPr>
          </a:p>
        </p:txBody>
      </p:sp>
      <p:sp>
        <p:nvSpPr>
          <p:cNvPr id="12" name="Rechteck: abgerundete Ecken 11">
            <a:extLst>
              <a:ext uri="{FF2B5EF4-FFF2-40B4-BE49-F238E27FC236}">
                <a16:creationId xmlns:a16="http://schemas.microsoft.com/office/drawing/2014/main" id="{16CCFEE4-AAC6-736F-6E4E-EBD3D960BDA4}"/>
              </a:ext>
            </a:extLst>
          </p:cNvPr>
          <p:cNvSpPr/>
          <p:nvPr/>
        </p:nvSpPr>
        <p:spPr bwMode="gray">
          <a:xfrm>
            <a:off x="5743147" y="1773263"/>
            <a:ext cx="720000" cy="720000"/>
          </a:xfrm>
          <a:prstGeom prst="rect">
            <a:avLst/>
          </a:prstGeom>
          <a:solidFill>
            <a:schemeClr val="accent1"/>
          </a:solidFill>
          <a:ln w="1397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18000"/>
              </a:lnSpc>
              <a:spcBef>
                <a:spcPts val="600"/>
              </a:spcBef>
            </a:pPr>
            <a:endParaRPr lang="en-US" noProof="0" dirty="0">
              <a:solidFill>
                <a:schemeClr val="tx1"/>
              </a:solidFill>
            </a:endParaRPr>
          </a:p>
        </p:txBody>
      </p:sp>
      <p:sp>
        <p:nvSpPr>
          <p:cNvPr id="13" name="Rechteck: abgerundete Ecken 12">
            <a:extLst>
              <a:ext uri="{FF2B5EF4-FFF2-40B4-BE49-F238E27FC236}">
                <a16:creationId xmlns:a16="http://schemas.microsoft.com/office/drawing/2014/main" id="{38092D30-F193-6262-7549-C4C31CF061DC}"/>
              </a:ext>
            </a:extLst>
          </p:cNvPr>
          <p:cNvSpPr/>
          <p:nvPr/>
        </p:nvSpPr>
        <p:spPr bwMode="gray">
          <a:xfrm>
            <a:off x="1942682" y="1794139"/>
            <a:ext cx="720000" cy="720000"/>
          </a:xfrm>
          <a:prstGeom prst="rect">
            <a:avLst/>
          </a:prstGeom>
          <a:solidFill>
            <a:schemeClr val="accent1"/>
          </a:solidFill>
          <a:ln w="1397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18000"/>
              </a:lnSpc>
              <a:spcBef>
                <a:spcPts val="600"/>
              </a:spcBef>
            </a:pPr>
            <a:endParaRPr lang="en-US" noProof="0" dirty="0">
              <a:solidFill>
                <a:schemeClr val="tx1"/>
              </a:solidFill>
            </a:endParaRPr>
          </a:p>
        </p:txBody>
      </p:sp>
      <p:pic>
        <p:nvPicPr>
          <p:cNvPr id="4" name="Grafik 66">
            <a:extLst>
              <a:ext uri="{FF2B5EF4-FFF2-40B4-BE49-F238E27FC236}">
                <a16:creationId xmlns:a16="http://schemas.microsoft.com/office/drawing/2014/main" id="{524BFB6B-4E94-EF40-421D-5740CB44FE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76898" y="1809394"/>
            <a:ext cx="652498" cy="651187"/>
          </a:xfrm>
          <a:prstGeom prst="rect">
            <a:avLst/>
          </a:prstGeom>
        </p:spPr>
      </p:pic>
      <p:pic>
        <p:nvPicPr>
          <p:cNvPr id="14" name="Grafik 17">
            <a:extLst>
              <a:ext uri="{FF2B5EF4-FFF2-40B4-BE49-F238E27FC236}">
                <a16:creationId xmlns:a16="http://schemas.microsoft.com/office/drawing/2014/main" id="{D0F9E2DD-0761-B1AF-F600-497B4D3E3F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28175" y="1798220"/>
            <a:ext cx="648077" cy="646776"/>
          </a:xfrm>
          <a:prstGeom prst="rect">
            <a:avLst/>
          </a:prstGeom>
        </p:spPr>
      </p:pic>
      <p:pic>
        <p:nvPicPr>
          <p:cNvPr id="15" name="Grafik 252">
            <a:extLst>
              <a:ext uri="{FF2B5EF4-FFF2-40B4-BE49-F238E27FC236}">
                <a16:creationId xmlns:a16="http://schemas.microsoft.com/office/drawing/2014/main" id="{5D2D57F4-B66D-EA76-5E6E-8DC54C9BC4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76228" y="1836907"/>
            <a:ext cx="652908" cy="652908"/>
          </a:xfrm>
          <a:prstGeom prst="rect">
            <a:avLst/>
          </a:prstGeom>
        </p:spPr>
      </p:pic>
      <p:sp>
        <p:nvSpPr>
          <p:cNvPr id="3" name="TextBox 2">
            <a:extLst>
              <a:ext uri="{FF2B5EF4-FFF2-40B4-BE49-F238E27FC236}">
                <a16:creationId xmlns:a16="http://schemas.microsoft.com/office/drawing/2014/main" id="{AE1E2D1F-149F-2CA7-78FE-2BFC8C474763}"/>
              </a:ext>
            </a:extLst>
          </p:cNvPr>
          <p:cNvSpPr txBox="1"/>
          <p:nvPr/>
        </p:nvSpPr>
        <p:spPr bwMode="gray">
          <a:xfrm>
            <a:off x="1087295" y="5785371"/>
            <a:ext cx="8961584" cy="596902"/>
          </a:xfrm>
          <a:prstGeom prst="rect">
            <a:avLst/>
          </a:prstGeom>
          <a:noFill/>
        </p:spPr>
        <p:txBody>
          <a:bodyPr wrap="none" lIns="0" tIns="0" rIns="0" bIns="0" rtlCol="0" anchor="t">
            <a:noAutofit/>
          </a:bodyPr>
          <a:lstStyle/>
          <a:p>
            <a:pPr marL="355600" indent="-355600" algn="l">
              <a:lnSpc>
                <a:spcPct val="110000"/>
              </a:lnSpc>
              <a:spcAft>
                <a:spcPts val="600"/>
              </a:spcAft>
              <a:buClr>
                <a:schemeClr val="accent1"/>
              </a:buClr>
              <a:buBlip>
                <a:blip r:embed="rId10"/>
              </a:buBlip>
            </a:pPr>
            <a:r>
              <a:rPr lang="en-US" sz="1400" b="1" i="1" dirty="0"/>
              <a:t>Note</a:t>
            </a:r>
            <a:r>
              <a:rPr lang="en-US" sz="1400" i="1" dirty="0"/>
              <a:t>:  There many be more types of requests, depending upon your organization</a:t>
            </a:r>
          </a:p>
        </p:txBody>
      </p:sp>
    </p:spTree>
    <p:extLst>
      <p:ext uri="{BB962C8B-B14F-4D97-AF65-F5344CB8AC3E}">
        <p14:creationId xmlns:p14="http://schemas.microsoft.com/office/powerpoint/2010/main" val="2489747919"/>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Completing the Request Form / Sending the Request</a:t>
            </a:r>
            <a:endParaRPr lang="en-US" dirty="0"/>
          </a:p>
        </p:txBody>
      </p:sp>
      <p:sp>
        <p:nvSpPr>
          <p:cNvPr id="2" name="Footer Placeholder 1">
            <a:extLst>
              <a:ext uri="{FF2B5EF4-FFF2-40B4-BE49-F238E27FC236}">
                <a16:creationId xmlns:a16="http://schemas.microsoft.com/office/drawing/2014/main" id="{1F1C1DB8-331F-C510-3A20-A129676FB9DD}"/>
              </a:ext>
            </a:extLst>
          </p:cNvPr>
          <p:cNvSpPr>
            <a:spLocks noGrp="1"/>
          </p:cNvSpPr>
          <p:nvPr>
            <p:ph type="ftr" sz="quarter" idx="10"/>
          </p:nvPr>
        </p:nvSpPr>
        <p:spPr>
          <a:xfrm>
            <a:off x="1092201" y="6417356"/>
            <a:ext cx="4895850" cy="216000"/>
          </a:xfrm>
        </p:spPr>
        <p:txBody>
          <a:bodyPr/>
          <a:lstStyle/>
          <a:p>
            <a:r>
              <a:rPr lang="en-US" noProof="0" dirty="0"/>
              <a:t>Date </a:t>
            </a:r>
            <a:r>
              <a:rPr lang="en-US" noProof="0" dirty="0" err="1"/>
              <a:t>dd.mm.yyyy</a:t>
            </a:r>
            <a:r>
              <a:rPr lang="en-US" noProof="0" dirty="0"/>
              <a:t>  |  Security label</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DC9E300B-8212-1D3E-D812-4DA0049EAF51}"/>
              </a:ext>
            </a:extLst>
          </p:cNvPr>
          <p:cNvSpPr>
            <a:spLocks noGrp="1"/>
          </p:cNvSpPr>
          <p:nvPr>
            <p:ph type="title"/>
          </p:nvPr>
        </p:nvSpPr>
        <p:spPr/>
        <p:txBody>
          <a:bodyPr/>
          <a:lstStyle/>
          <a:p>
            <a:r>
              <a:rPr lang="en-US" dirty="0">
                <a:latin typeface="Barlow ExtraBold"/>
              </a:rPr>
              <a:t>03</a:t>
            </a:r>
            <a:endParaRPr lang="en-US" noProof="0" dirty="0"/>
          </a:p>
        </p:txBody>
      </p:sp>
    </p:spTree>
    <p:extLst>
      <p:ext uri="{BB962C8B-B14F-4D97-AF65-F5344CB8AC3E}">
        <p14:creationId xmlns:p14="http://schemas.microsoft.com/office/powerpoint/2010/main" val="3954732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e98f17ff33ce80290498d4cf8f9d26f9">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54892fb28a0933b95b49405d7980e159"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2.xml><?xml version="1.0" encoding="utf-8"?>
<ds:datastoreItem xmlns:ds="http://schemas.openxmlformats.org/officeDocument/2006/customXml" ds:itemID="{ED89253F-B28A-49A4-9A97-7AF1447DBAF3}">
  <ds:schemaRefs>
    <ds:schemaRef ds:uri="http://schemas.microsoft.com/office/2006/metadata/properties"/>
    <ds:schemaRef ds:uri="http://www.w3.org/XML/1998/namespace"/>
    <ds:schemaRef ds:uri="http://schemas.microsoft.com/office/2006/documentManagement/types"/>
    <ds:schemaRef ds:uri="http://purl.org/dc/elements/1.1/"/>
    <ds:schemaRef ds:uri="http://purl.org/dc/terms/"/>
    <ds:schemaRef ds:uri="1dd26536-b335-48d9-97ae-50a8dfab001f"/>
    <ds:schemaRef ds:uri="50e13c11-405e-4a8e-8652-d220e0fa51ce"/>
    <ds:schemaRef ds:uri="http://schemas.microsoft.com/office/infopath/2007/PartnerControl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3EA60446-0D1F-4FF3-A90D-6429D8E295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13c11-405e-4a8e-8652-d220e0fa51ce"/>
    <ds:schemaRef ds:uri="1dd26536-b335-48d9-97ae-50a8dfab0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2201</TotalTime>
  <Words>1211</Words>
  <Application>Microsoft Office PowerPoint</Application>
  <PresentationFormat>Widescreen</PresentationFormat>
  <Paragraphs>191</Paragraphs>
  <Slides>28</Slides>
  <Notes>27</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EQS Group_PPT-Master_16zu9</vt:lpstr>
      <vt:lpstr>APPROVALS</vt:lpstr>
      <vt:lpstr>Agenda</vt:lpstr>
      <vt:lpstr>01</vt:lpstr>
      <vt:lpstr>Navigate to Integrity Hub</vt:lpstr>
      <vt:lpstr>02</vt:lpstr>
      <vt:lpstr>Starting a Request: Option 1 </vt:lpstr>
      <vt:lpstr>Starting a Request: Option 2 </vt:lpstr>
      <vt:lpstr>Types of Requests</vt:lpstr>
      <vt:lpstr>03</vt:lpstr>
      <vt:lpstr>Complete the Form and Send Request </vt:lpstr>
      <vt:lpstr>Complete the Form and Send Request </vt:lpstr>
      <vt:lpstr>Complete the Form and Send Request </vt:lpstr>
      <vt:lpstr>Complete the Form and Send Request </vt:lpstr>
      <vt:lpstr>Saving the Request for Later</vt:lpstr>
      <vt:lpstr>04</vt:lpstr>
      <vt:lpstr>Communication from an Approver</vt:lpstr>
      <vt:lpstr>Communication to an Approver</vt:lpstr>
      <vt:lpstr>05</vt:lpstr>
      <vt:lpstr>Attestation</vt:lpstr>
      <vt:lpstr>Attest to the Request Conclusion</vt:lpstr>
      <vt:lpstr>Attestation / Request is Completed</vt:lpstr>
      <vt:lpstr>06</vt:lpstr>
      <vt:lpstr>Cancel a Request</vt:lpstr>
      <vt:lpstr>Cancel a Request</vt:lpstr>
      <vt:lpstr>Delete a Draft Request </vt:lpstr>
      <vt:lpstr>07</vt:lpstr>
      <vt:lpstr>Past Requests </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hil Mauracher</dc:creator>
  <cp:lastModifiedBy>Phil Mauracher</cp:lastModifiedBy>
  <cp:revision>443</cp:revision>
  <cp:lastPrinted>2017-03-10T15:17:38Z</cp:lastPrinted>
  <dcterms:created xsi:type="dcterms:W3CDTF">2025-05-20T16:35:48Z</dcterms:created>
  <dcterms:modified xsi:type="dcterms:W3CDTF">2025-06-04T02:4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